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2.xml" ContentType="application/vnd.openxmlformats-officedocument.presentationml.notesSlide+xml"/>
  <Override PartName="/ppt/tags/tag46.xml" ContentType="application/vnd.openxmlformats-officedocument.presentationml.tags+xml"/>
  <Override PartName="/ppt/notesSlides/notesSlide3.xml" ContentType="application/vnd.openxmlformats-officedocument.presentationml.notesSlide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3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notesMasterIdLst>
    <p:notesMasterId r:id="rId21"/>
  </p:notesMasterIdLst>
  <p:sldIdLst>
    <p:sldId id="350" r:id="rId5"/>
    <p:sldId id="2147468895" r:id="rId6"/>
    <p:sldId id="2147468896" r:id="rId7"/>
    <p:sldId id="2147469969" r:id="rId8"/>
    <p:sldId id="2147469970" r:id="rId9"/>
    <p:sldId id="2147469978" r:id="rId10"/>
    <p:sldId id="2147469979" r:id="rId11"/>
    <p:sldId id="2147469980" r:id="rId12"/>
    <p:sldId id="2147469974" r:id="rId13"/>
    <p:sldId id="2147469982" r:id="rId14"/>
    <p:sldId id="2147469981" r:id="rId15"/>
    <p:sldId id="2147469977" r:id="rId16"/>
    <p:sldId id="2147309592" r:id="rId17"/>
    <p:sldId id="2147468898" r:id="rId18"/>
    <p:sldId id="2147469976" r:id="rId19"/>
    <p:sldId id="2147309415" r:id="rId20"/>
  </p:sldIdLst>
  <p:sldSz cx="12192000" cy="6858000"/>
  <p:notesSz cx="6888163" cy="10020300"/>
  <p:custShowLst>
    <p:custShow name="Suporte" id="0">
      <p:sldLst/>
    </p:custShow>
  </p:custShowLst>
  <p:custDataLst>
    <p:tags r:id="rId22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cos Moreira, Thiago" initials="MMT" lastIdx="3" clrIdx="0">
    <p:extLst>
      <p:ext uri="{19B8F6BF-5375-455C-9EA6-DF929625EA0E}">
        <p15:presenceInfo xmlns:p15="http://schemas.microsoft.com/office/powerpoint/2012/main" userId="S::t.marcos.moreira@accenture.com::4739c3e0-817c-474c-99d2-3a1549dae853" providerId="AD"/>
      </p:ext>
    </p:extLst>
  </p:cmAuthor>
  <p:cmAuthor id="2" name="Tartaglia, Fernanda P." initials="TFP" lastIdx="21" clrIdx="1">
    <p:extLst>
      <p:ext uri="{19B8F6BF-5375-455C-9EA6-DF929625EA0E}">
        <p15:presenceInfo xmlns:p15="http://schemas.microsoft.com/office/powerpoint/2012/main" userId="S::fernanda.p.tartaglia@accenture.com::961125ac-df01-408d-bb6f-93b11ad147b7" providerId="AD"/>
      </p:ext>
    </p:extLst>
  </p:cmAuthor>
  <p:cmAuthor id="3" name="Prado, Cesar Carvalho da Silva" initials="PCCdS" lastIdx="7" clrIdx="2">
    <p:extLst>
      <p:ext uri="{19B8F6BF-5375-455C-9EA6-DF929625EA0E}">
        <p15:presenceInfo xmlns:p15="http://schemas.microsoft.com/office/powerpoint/2012/main" userId="S::cesar.carvalho.prado@accenture.com::faa7b65f-78c1-40c7-89fe-d088c40216d1" providerId="AD"/>
      </p:ext>
    </p:extLst>
  </p:cmAuthor>
  <p:cmAuthor id="4" name="Magalhaes, Arthur" initials="MA" lastIdx="1" clrIdx="3">
    <p:extLst>
      <p:ext uri="{19B8F6BF-5375-455C-9EA6-DF929625EA0E}">
        <p15:presenceInfo xmlns:p15="http://schemas.microsoft.com/office/powerpoint/2012/main" userId="S::arthur.magalhaes@accenture.com::99eaff86-34ee-4ca6-a4eb-ce1c3b56e689" providerId="AD"/>
      </p:ext>
    </p:extLst>
  </p:cmAuthor>
  <p:cmAuthor id="5" name="Fidalgo, Rafael" initials="FR" lastIdx="5" clrIdx="4">
    <p:extLst>
      <p:ext uri="{19B8F6BF-5375-455C-9EA6-DF929625EA0E}">
        <p15:presenceInfo xmlns:p15="http://schemas.microsoft.com/office/powerpoint/2012/main" userId="S::rafael.fidalgo@accenture.com::820ea206-e304-4fbf-95ea-1acbbe6d57ce" providerId="AD"/>
      </p:ext>
    </p:extLst>
  </p:cmAuthor>
  <p:cmAuthor id="6" name="Oguiwara, Andre" initials="OA" lastIdx="11" clrIdx="5">
    <p:extLst>
      <p:ext uri="{19B8F6BF-5375-455C-9EA6-DF929625EA0E}">
        <p15:presenceInfo xmlns:p15="http://schemas.microsoft.com/office/powerpoint/2012/main" userId="S::andre.oguiwara@accenture.com::f9de940d-9700-4c48-a6da-269f29dbf3b2" providerId="AD"/>
      </p:ext>
    </p:extLst>
  </p:cmAuthor>
  <p:cmAuthor id="7" name="Peresson, Maria C." initials="PMC" lastIdx="1" clrIdx="6">
    <p:extLst>
      <p:ext uri="{19B8F6BF-5375-455C-9EA6-DF929625EA0E}">
        <p15:presenceInfo xmlns:p15="http://schemas.microsoft.com/office/powerpoint/2012/main" userId="S::maria.c.peresson@accenture.com::29a27085-7921-4c68-aae3-37277c1475ce" providerId="AD"/>
      </p:ext>
    </p:extLst>
  </p:cmAuthor>
  <p:cmAuthor id="8" name="Everton" initials="E" lastIdx="2" clrIdx="7">
    <p:extLst>
      <p:ext uri="{19B8F6BF-5375-455C-9EA6-DF929625EA0E}">
        <p15:presenceInfo xmlns:p15="http://schemas.microsoft.com/office/powerpoint/2012/main" userId="S::everton.iwamoto@accenture.com::17870670-f93a-457c-bddc-0ce76e030f6c" providerId="AD"/>
      </p:ext>
    </p:extLst>
  </p:cmAuthor>
  <p:cmAuthor id="9" name="Almeida, Alex" initials="AA" lastIdx="2" clrIdx="8">
    <p:extLst>
      <p:ext uri="{19B8F6BF-5375-455C-9EA6-DF929625EA0E}">
        <p15:presenceInfo xmlns:p15="http://schemas.microsoft.com/office/powerpoint/2012/main" userId="S::a.almeida@accenture.com::f7dd11c5-9af2-4a41-884f-97d7e83fd398" providerId="AD"/>
      </p:ext>
    </p:extLst>
  </p:cmAuthor>
  <p:cmAuthor id="10" name="Seidl, Christopher G." initials="SCG" lastIdx="6" clrIdx="9">
    <p:extLst>
      <p:ext uri="{19B8F6BF-5375-455C-9EA6-DF929625EA0E}">
        <p15:presenceInfo xmlns:p15="http://schemas.microsoft.com/office/powerpoint/2012/main" userId="S::christopher.g.seidl@accenture.com::e395fda8-c79f-4292-be53-23d0bbe2699a" providerId="AD"/>
      </p:ext>
    </p:extLst>
  </p:cmAuthor>
  <p:cmAuthor id="11" name="Lemos, Lando" initials="LL" lastIdx="1" clrIdx="10">
    <p:extLst>
      <p:ext uri="{19B8F6BF-5375-455C-9EA6-DF929625EA0E}">
        <p15:presenceInfo xmlns:p15="http://schemas.microsoft.com/office/powerpoint/2012/main" userId="S::lando.lemos@accenture.com::29e8b5ed-b6c0-4d6d-837c-b046b34a8eda" providerId="AD"/>
      </p:ext>
    </p:extLst>
  </p:cmAuthor>
  <p:cmAuthor id="12" name="Quintella, Gustavo" initials="QG" lastIdx="1" clrIdx="11">
    <p:extLst>
      <p:ext uri="{19B8F6BF-5375-455C-9EA6-DF929625EA0E}">
        <p15:presenceInfo xmlns:p15="http://schemas.microsoft.com/office/powerpoint/2012/main" userId="S::gustavo.quintella@accenture.com::3df80ed8-052c-40ff-863a-981cb8ea6302" providerId="AD"/>
      </p:ext>
    </p:extLst>
  </p:cmAuthor>
  <p:cmAuthor id="13" name="Branco, Luiz" initials="BL" lastIdx="1" clrIdx="12">
    <p:extLst>
      <p:ext uri="{19B8F6BF-5375-455C-9EA6-DF929625EA0E}">
        <p15:presenceInfo xmlns:p15="http://schemas.microsoft.com/office/powerpoint/2012/main" userId="S::l.branco@accenture.com::801ceb88-4a6f-48b5-ac55-cf0a6659f26a" providerId="AD"/>
      </p:ext>
    </p:extLst>
  </p:cmAuthor>
  <p:cmAuthor id="14" name="Borba Neto, Jose" initials="BNJ" lastIdx="1" clrIdx="13">
    <p:extLst>
      <p:ext uri="{19B8F6BF-5375-455C-9EA6-DF929625EA0E}">
        <p15:presenceInfo xmlns:p15="http://schemas.microsoft.com/office/powerpoint/2012/main" userId="S::jose.borba.neto@accenture.com::774cb74d-0733-476b-9199-bd93fdb0d4f7" providerId="AD"/>
      </p:ext>
    </p:extLst>
  </p:cmAuthor>
  <p:cmAuthor id="15" name="Abreu, Ricardo" initials="AR" lastIdx="1" clrIdx="14">
    <p:extLst>
      <p:ext uri="{19B8F6BF-5375-455C-9EA6-DF929625EA0E}">
        <p15:presenceInfo xmlns:p15="http://schemas.microsoft.com/office/powerpoint/2012/main" userId="S::ricardo.abreu@accenture.com::9c4ce1bc-0ae2-4e2f-9f40-69b50637fe2d" providerId="AD"/>
      </p:ext>
    </p:extLst>
  </p:cmAuthor>
  <p:cmAuthor id="16" name="Veras, Danilo" initials="VD" lastIdx="1" clrIdx="15">
    <p:extLst>
      <p:ext uri="{19B8F6BF-5375-455C-9EA6-DF929625EA0E}">
        <p15:presenceInfo xmlns:p15="http://schemas.microsoft.com/office/powerpoint/2012/main" userId="S::danilo.veras@accenture.com::6de987fa-95fb-4820-a024-f1e85a8fffc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5F00BF"/>
    <a:srgbClr val="1F466A"/>
    <a:srgbClr val="EAD5FF"/>
    <a:srgbClr val="ECEAF8"/>
    <a:srgbClr val="ECE7FF"/>
    <a:srgbClr val="B27DFF"/>
    <a:srgbClr val="00B0F0"/>
    <a:srgbClr val="7E00FF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70A609-D665-4234-8098-FC877E572B2C}" v="980" dt="2022-08-31T12:32:23.8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166" autoAdjust="0"/>
    <p:restoredTop sz="96247" autoAdjust="0"/>
  </p:normalViewPr>
  <p:slideViewPr>
    <p:cSldViewPr snapToGrid="0">
      <p:cViewPr>
        <p:scale>
          <a:sx n="110" d="100"/>
          <a:sy n="110" d="100"/>
        </p:scale>
        <p:origin x="738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E9B43BC-DED4-47B9-B05B-4B89B04E6E37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3224B9AC-0BEC-4558-B39C-5AB966D71F17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1</a:t>
          </a:r>
        </a:p>
      </dgm:t>
    </dgm:pt>
    <dgm:pt modelId="{F18EC743-29C4-4E9A-BC83-CDA9A14CB0C8}" type="parTrans" cxnId="{05420FC5-9F12-4F79-B701-1FB26A1C4224}">
      <dgm:prSet/>
      <dgm:spPr/>
      <dgm:t>
        <a:bodyPr/>
        <a:lstStyle/>
        <a:p>
          <a:endParaRPr lang="pt-BR"/>
        </a:p>
      </dgm:t>
    </dgm:pt>
    <dgm:pt modelId="{3F3EBE27-AB1B-4471-9163-E689ADDE648B}" type="sibTrans" cxnId="{05420FC5-9F12-4F79-B701-1FB26A1C4224}">
      <dgm:prSet/>
      <dgm:spPr/>
      <dgm:t>
        <a:bodyPr/>
        <a:lstStyle/>
        <a:p>
          <a:endParaRPr lang="pt-BR"/>
        </a:p>
      </dgm:t>
    </dgm:pt>
    <dgm:pt modelId="{4EC3F407-E8DF-42A9-BF1E-A420022926DB}">
      <dgm:prSet phldrT="[Text]"/>
      <dgm:spPr/>
      <dgm:t>
        <a:bodyPr/>
        <a:lstStyle/>
        <a:p>
          <a:r>
            <a:rPr lang="pt-BR" dirty="0"/>
            <a:t>Gerar chave privada de 2048 bits;</a:t>
          </a:r>
        </a:p>
      </dgm:t>
    </dgm:pt>
    <dgm:pt modelId="{9EE3538C-DF13-4643-AFA4-551F05B0D027}" type="parTrans" cxnId="{87E9E5D2-2727-459A-93E6-FA29B233AACD}">
      <dgm:prSet/>
      <dgm:spPr/>
      <dgm:t>
        <a:bodyPr/>
        <a:lstStyle/>
        <a:p>
          <a:endParaRPr lang="pt-BR"/>
        </a:p>
      </dgm:t>
    </dgm:pt>
    <dgm:pt modelId="{F7192FB0-9F7D-4193-8D3E-60D0456D994D}" type="sibTrans" cxnId="{87E9E5D2-2727-459A-93E6-FA29B233AACD}">
      <dgm:prSet/>
      <dgm:spPr/>
      <dgm:t>
        <a:bodyPr/>
        <a:lstStyle/>
        <a:p>
          <a:endParaRPr lang="pt-BR"/>
        </a:p>
      </dgm:t>
    </dgm:pt>
    <dgm:pt modelId="{78277A09-A206-4B79-9901-874018782C91}">
      <dgm:prSet phldrT="[Text]"/>
      <dgm:spPr/>
      <dgm:t>
        <a:bodyPr/>
        <a:lstStyle/>
        <a:p>
          <a:r>
            <a:rPr lang="pt-BR" dirty="0"/>
            <a:t>2</a:t>
          </a:r>
        </a:p>
      </dgm:t>
    </dgm:pt>
    <dgm:pt modelId="{DD427696-DD5D-41F6-881C-4D4CBBD75D26}" type="parTrans" cxnId="{CDF105A0-8CDB-4B55-8EE5-A56A76BF8FE6}">
      <dgm:prSet/>
      <dgm:spPr/>
      <dgm:t>
        <a:bodyPr/>
        <a:lstStyle/>
        <a:p>
          <a:endParaRPr lang="pt-BR"/>
        </a:p>
      </dgm:t>
    </dgm:pt>
    <dgm:pt modelId="{35BBE93D-66E3-4AB5-B59D-2C1A0519A8C5}" type="sibTrans" cxnId="{CDF105A0-8CDB-4B55-8EE5-A56A76BF8FE6}">
      <dgm:prSet/>
      <dgm:spPr/>
      <dgm:t>
        <a:bodyPr/>
        <a:lstStyle/>
        <a:p>
          <a:endParaRPr lang="pt-BR"/>
        </a:p>
      </dgm:t>
    </dgm:pt>
    <dgm:pt modelId="{34B09C95-5FE2-4532-916C-23989D03FB89}">
      <dgm:prSet phldrT="[Text]"/>
      <dgm:spPr/>
      <dgm:t>
        <a:bodyPr/>
        <a:lstStyle/>
        <a:p>
          <a:r>
            <a:rPr lang="pt-BR" dirty="0"/>
            <a:t>Gerar um Certificado digital com formado X509, </a:t>
          </a:r>
          <a:r>
            <a:rPr lang="pt-BR" dirty="0" err="1"/>
            <a:t>autoassinado</a:t>
          </a:r>
          <a:r>
            <a:rPr lang="pt-BR" dirty="0"/>
            <a:t> com a chave privada gerada, e tamanho até 4KB;</a:t>
          </a:r>
        </a:p>
      </dgm:t>
    </dgm:pt>
    <dgm:pt modelId="{EA359620-8047-46F0-8F67-0C36D91F145E}" type="parTrans" cxnId="{6FF3BD10-8280-4794-90C1-2433C7B102A2}">
      <dgm:prSet/>
      <dgm:spPr/>
      <dgm:t>
        <a:bodyPr/>
        <a:lstStyle/>
        <a:p>
          <a:endParaRPr lang="pt-BR"/>
        </a:p>
      </dgm:t>
    </dgm:pt>
    <dgm:pt modelId="{9FF65BCE-36C4-4F5F-A1C3-8DF8FB551C0D}" type="sibTrans" cxnId="{6FF3BD10-8280-4794-90C1-2433C7B102A2}">
      <dgm:prSet/>
      <dgm:spPr/>
      <dgm:t>
        <a:bodyPr/>
        <a:lstStyle/>
        <a:p>
          <a:endParaRPr lang="pt-BR"/>
        </a:p>
      </dgm:t>
    </dgm:pt>
    <dgm:pt modelId="{76BB05CB-1433-4A21-84C7-6DD4B97A5733}">
      <dgm:prSet phldrT="[Text]"/>
      <dgm:spPr/>
      <dgm:t>
        <a:bodyPr/>
        <a:lstStyle/>
        <a:p>
          <a:r>
            <a:rPr lang="pt-BR" dirty="0"/>
            <a:t>3</a:t>
          </a:r>
        </a:p>
      </dgm:t>
    </dgm:pt>
    <dgm:pt modelId="{2B355450-76F8-4F65-BEA4-017CCE3F18E1}" type="parTrans" cxnId="{223E920B-D22E-4DCD-886D-E9C0CEC431A8}">
      <dgm:prSet/>
      <dgm:spPr/>
      <dgm:t>
        <a:bodyPr/>
        <a:lstStyle/>
        <a:p>
          <a:endParaRPr lang="pt-BR"/>
        </a:p>
      </dgm:t>
    </dgm:pt>
    <dgm:pt modelId="{C42F9F4E-2E31-44FA-9A30-6FB791615C3A}" type="sibTrans" cxnId="{223E920B-D22E-4DCD-886D-E9C0CEC431A8}">
      <dgm:prSet/>
      <dgm:spPr/>
      <dgm:t>
        <a:bodyPr/>
        <a:lstStyle/>
        <a:p>
          <a:endParaRPr lang="pt-BR"/>
        </a:p>
      </dgm:t>
    </dgm:pt>
    <dgm:pt modelId="{B63E8AA4-48A8-4316-AAE5-A5C2FC0E40DD}">
      <dgm:prSet phldrT="[Text]"/>
      <dgm:spPr/>
      <dgm:t>
        <a:bodyPr/>
        <a:lstStyle/>
        <a:p>
          <a:r>
            <a:rPr lang="pt-BR" dirty="0"/>
            <a:t>Setup Salesforce: Importar Certificado,  Configurar usuário e perfil de integração, Configurações de sessão e politicas.</a:t>
          </a:r>
        </a:p>
      </dgm:t>
    </dgm:pt>
    <dgm:pt modelId="{41BA7570-2FCF-4AF5-9E18-2F21B506FB83}" type="parTrans" cxnId="{3244B5E3-1DD0-46A7-8036-FAB1CE198012}">
      <dgm:prSet/>
      <dgm:spPr/>
      <dgm:t>
        <a:bodyPr/>
        <a:lstStyle/>
        <a:p>
          <a:endParaRPr lang="pt-BR"/>
        </a:p>
      </dgm:t>
    </dgm:pt>
    <dgm:pt modelId="{05522541-AC20-4B33-9B5C-9CE69B299814}" type="sibTrans" cxnId="{3244B5E3-1DD0-46A7-8036-FAB1CE198012}">
      <dgm:prSet/>
      <dgm:spPr/>
      <dgm:t>
        <a:bodyPr/>
        <a:lstStyle/>
        <a:p>
          <a:endParaRPr lang="pt-BR"/>
        </a:p>
      </dgm:t>
    </dgm:pt>
    <dgm:pt modelId="{FADA6794-27FA-4034-BFE3-204F633FEE91}">
      <dgm:prSet phldrT="[Text]"/>
      <dgm:spPr/>
      <dgm:t>
        <a:bodyPr/>
        <a:lstStyle/>
        <a:p>
          <a:r>
            <a:rPr lang="pt-BR" dirty="0"/>
            <a:t>4</a:t>
          </a:r>
        </a:p>
      </dgm:t>
    </dgm:pt>
    <dgm:pt modelId="{AC847452-882A-4273-8083-D339D9E1DD1E}" type="parTrans" cxnId="{57B47FD7-6679-4AB2-B01F-4CD614B9D5B3}">
      <dgm:prSet/>
      <dgm:spPr/>
      <dgm:t>
        <a:bodyPr/>
        <a:lstStyle/>
        <a:p>
          <a:endParaRPr lang="pt-BR"/>
        </a:p>
      </dgm:t>
    </dgm:pt>
    <dgm:pt modelId="{C931B197-E2E4-474C-A0FA-93604996293A}" type="sibTrans" cxnId="{57B47FD7-6679-4AB2-B01F-4CD614B9D5B3}">
      <dgm:prSet/>
      <dgm:spPr/>
      <dgm:t>
        <a:bodyPr/>
        <a:lstStyle/>
        <a:p>
          <a:endParaRPr lang="pt-BR"/>
        </a:p>
      </dgm:t>
    </dgm:pt>
    <dgm:pt modelId="{3F789AC0-8EB5-4B88-84B7-B9BA42D49DB0}">
      <dgm:prSet/>
      <dgm:spPr/>
      <dgm:t>
        <a:bodyPr/>
        <a:lstStyle/>
        <a:p>
          <a:r>
            <a:rPr lang="pt-BR" dirty="0"/>
            <a:t>Gerar JWT com algoritmo de criptográfica RS256;</a:t>
          </a:r>
        </a:p>
      </dgm:t>
    </dgm:pt>
    <dgm:pt modelId="{4774A1CF-E246-468A-AC78-137A4E3E0378}" type="parTrans" cxnId="{4DA72DCD-4428-465B-8AA2-FCD6F7C8B457}">
      <dgm:prSet/>
      <dgm:spPr/>
      <dgm:t>
        <a:bodyPr/>
        <a:lstStyle/>
        <a:p>
          <a:endParaRPr lang="pt-BR"/>
        </a:p>
      </dgm:t>
    </dgm:pt>
    <dgm:pt modelId="{10C22EA9-E3C6-4801-A58E-698A4BA651C8}" type="sibTrans" cxnId="{4DA72DCD-4428-465B-8AA2-FCD6F7C8B457}">
      <dgm:prSet/>
      <dgm:spPr/>
      <dgm:t>
        <a:bodyPr/>
        <a:lstStyle/>
        <a:p>
          <a:endParaRPr lang="pt-BR"/>
        </a:p>
      </dgm:t>
    </dgm:pt>
    <dgm:pt modelId="{28E35EAD-1BD8-40AC-987C-26D76F37120C}">
      <dgm:prSet/>
      <dgm:spPr/>
      <dgm:t>
        <a:bodyPr/>
        <a:lstStyle/>
        <a:p>
          <a:r>
            <a:rPr lang="pt-BR" dirty="0"/>
            <a:t>5</a:t>
          </a:r>
        </a:p>
      </dgm:t>
    </dgm:pt>
    <dgm:pt modelId="{93B63077-0785-4113-9296-DD4AF0C61268}" type="parTrans" cxnId="{5AF1F8C1-AB68-4F22-BAFE-9C1004293C7E}">
      <dgm:prSet/>
      <dgm:spPr/>
      <dgm:t>
        <a:bodyPr/>
        <a:lstStyle/>
        <a:p>
          <a:endParaRPr lang="pt-BR"/>
        </a:p>
      </dgm:t>
    </dgm:pt>
    <dgm:pt modelId="{B5AAB633-9B71-4275-98A5-99BF9890D745}" type="sibTrans" cxnId="{5AF1F8C1-AB68-4F22-BAFE-9C1004293C7E}">
      <dgm:prSet/>
      <dgm:spPr/>
      <dgm:t>
        <a:bodyPr/>
        <a:lstStyle/>
        <a:p>
          <a:endParaRPr lang="pt-BR"/>
        </a:p>
      </dgm:t>
    </dgm:pt>
    <dgm:pt modelId="{976D0A3A-55BB-49C4-A22B-3677CDD7F0E2}">
      <dgm:prSet/>
      <dgm:spPr/>
      <dgm:t>
        <a:bodyPr/>
        <a:lstStyle/>
        <a:p>
          <a:r>
            <a:rPr lang="pt-BR" dirty="0"/>
            <a:t>Envio de requisição (Grant </a:t>
          </a:r>
          <a:r>
            <a:rPr lang="pt-BR" dirty="0" err="1"/>
            <a:t>type</a:t>
          </a:r>
          <a:r>
            <a:rPr lang="pt-BR" dirty="0"/>
            <a:t> + JWT)</a:t>
          </a:r>
        </a:p>
      </dgm:t>
    </dgm:pt>
    <dgm:pt modelId="{C60A9B6C-4DA1-4FA5-A48D-B29A6EED674A}" type="parTrans" cxnId="{3D234702-AAB2-4217-AE43-E265929B73C9}">
      <dgm:prSet/>
      <dgm:spPr/>
      <dgm:t>
        <a:bodyPr/>
        <a:lstStyle/>
        <a:p>
          <a:endParaRPr lang="pt-BR"/>
        </a:p>
      </dgm:t>
    </dgm:pt>
    <dgm:pt modelId="{C1C79B77-8CCE-4505-98BA-0F64CA4C0CFB}" type="sibTrans" cxnId="{3D234702-AAB2-4217-AE43-E265929B73C9}">
      <dgm:prSet/>
      <dgm:spPr/>
      <dgm:t>
        <a:bodyPr/>
        <a:lstStyle/>
        <a:p>
          <a:endParaRPr lang="pt-BR"/>
        </a:p>
      </dgm:t>
    </dgm:pt>
    <dgm:pt modelId="{08D10DF2-E41C-4554-9490-D20DAA5BCA16}" type="pres">
      <dgm:prSet presAssocID="{CE9B43BC-DED4-47B9-B05B-4B89B04E6E37}" presName="linearFlow" presStyleCnt="0">
        <dgm:presLayoutVars>
          <dgm:dir/>
          <dgm:animLvl val="lvl"/>
          <dgm:resizeHandles val="exact"/>
        </dgm:presLayoutVars>
      </dgm:prSet>
      <dgm:spPr/>
    </dgm:pt>
    <dgm:pt modelId="{0889A8CF-3144-480F-AC57-DDBC04A66F08}" type="pres">
      <dgm:prSet presAssocID="{3224B9AC-0BEC-4558-B39C-5AB966D71F17}" presName="composite" presStyleCnt="0"/>
      <dgm:spPr/>
    </dgm:pt>
    <dgm:pt modelId="{927EF1DB-5741-493C-A6BC-323182493216}" type="pres">
      <dgm:prSet presAssocID="{3224B9AC-0BEC-4558-B39C-5AB966D71F17}" presName="parentText" presStyleLbl="alignNode1" presStyleIdx="0" presStyleCnt="5">
        <dgm:presLayoutVars>
          <dgm:chMax val="1"/>
          <dgm:bulletEnabled val="1"/>
        </dgm:presLayoutVars>
      </dgm:prSet>
      <dgm:spPr/>
    </dgm:pt>
    <dgm:pt modelId="{9AD83B76-4817-41CC-8ECA-1E5023005A3A}" type="pres">
      <dgm:prSet presAssocID="{3224B9AC-0BEC-4558-B39C-5AB966D71F17}" presName="descendantText" presStyleLbl="alignAcc1" presStyleIdx="0" presStyleCnt="5">
        <dgm:presLayoutVars>
          <dgm:bulletEnabled val="1"/>
        </dgm:presLayoutVars>
      </dgm:prSet>
      <dgm:spPr/>
    </dgm:pt>
    <dgm:pt modelId="{212CA65B-A4CB-4030-B0CC-6838AAC74967}" type="pres">
      <dgm:prSet presAssocID="{3F3EBE27-AB1B-4471-9163-E689ADDE648B}" presName="sp" presStyleCnt="0"/>
      <dgm:spPr/>
    </dgm:pt>
    <dgm:pt modelId="{EFCCC388-3CED-4880-8C97-052768DB1155}" type="pres">
      <dgm:prSet presAssocID="{78277A09-A206-4B79-9901-874018782C91}" presName="composite" presStyleCnt="0"/>
      <dgm:spPr/>
    </dgm:pt>
    <dgm:pt modelId="{6FE5D44E-8E86-49E4-9818-DB0B78F22557}" type="pres">
      <dgm:prSet presAssocID="{78277A09-A206-4B79-9901-874018782C91}" presName="parentText" presStyleLbl="alignNode1" presStyleIdx="1" presStyleCnt="5">
        <dgm:presLayoutVars>
          <dgm:chMax val="1"/>
          <dgm:bulletEnabled val="1"/>
        </dgm:presLayoutVars>
      </dgm:prSet>
      <dgm:spPr/>
    </dgm:pt>
    <dgm:pt modelId="{BE031E00-E29E-4738-BECA-1313BA3A534E}" type="pres">
      <dgm:prSet presAssocID="{78277A09-A206-4B79-9901-874018782C91}" presName="descendantText" presStyleLbl="alignAcc1" presStyleIdx="1" presStyleCnt="5">
        <dgm:presLayoutVars>
          <dgm:bulletEnabled val="1"/>
        </dgm:presLayoutVars>
      </dgm:prSet>
      <dgm:spPr/>
    </dgm:pt>
    <dgm:pt modelId="{160BEFF8-4B70-4D72-9E1A-E1B6C09F2A3C}" type="pres">
      <dgm:prSet presAssocID="{35BBE93D-66E3-4AB5-B59D-2C1A0519A8C5}" presName="sp" presStyleCnt="0"/>
      <dgm:spPr/>
    </dgm:pt>
    <dgm:pt modelId="{DB315CFE-FA70-406E-83B9-31AFE0E38AE0}" type="pres">
      <dgm:prSet presAssocID="{76BB05CB-1433-4A21-84C7-6DD4B97A5733}" presName="composite" presStyleCnt="0"/>
      <dgm:spPr/>
    </dgm:pt>
    <dgm:pt modelId="{F39598BF-DF1E-4FF3-BFC3-58232C62E808}" type="pres">
      <dgm:prSet presAssocID="{76BB05CB-1433-4A21-84C7-6DD4B97A5733}" presName="parentText" presStyleLbl="alignNode1" presStyleIdx="2" presStyleCnt="5">
        <dgm:presLayoutVars>
          <dgm:chMax val="1"/>
          <dgm:bulletEnabled val="1"/>
        </dgm:presLayoutVars>
      </dgm:prSet>
      <dgm:spPr/>
    </dgm:pt>
    <dgm:pt modelId="{A4F7F6DD-F011-428B-8567-C29DB8FA414A}" type="pres">
      <dgm:prSet presAssocID="{76BB05CB-1433-4A21-84C7-6DD4B97A5733}" presName="descendantText" presStyleLbl="alignAcc1" presStyleIdx="2" presStyleCnt="5">
        <dgm:presLayoutVars>
          <dgm:bulletEnabled val="1"/>
        </dgm:presLayoutVars>
      </dgm:prSet>
      <dgm:spPr/>
    </dgm:pt>
    <dgm:pt modelId="{42EA8D7E-219B-4274-A2A6-49D06100F8EC}" type="pres">
      <dgm:prSet presAssocID="{C42F9F4E-2E31-44FA-9A30-6FB791615C3A}" presName="sp" presStyleCnt="0"/>
      <dgm:spPr/>
    </dgm:pt>
    <dgm:pt modelId="{9CB8064A-EAD7-47B4-B1F2-1E5C76B95038}" type="pres">
      <dgm:prSet presAssocID="{FADA6794-27FA-4034-BFE3-204F633FEE91}" presName="composite" presStyleCnt="0"/>
      <dgm:spPr/>
    </dgm:pt>
    <dgm:pt modelId="{56552399-F447-4D7C-B9B0-786BAB0D0631}" type="pres">
      <dgm:prSet presAssocID="{FADA6794-27FA-4034-BFE3-204F633FEE91}" presName="parentText" presStyleLbl="alignNode1" presStyleIdx="3" presStyleCnt="5">
        <dgm:presLayoutVars>
          <dgm:chMax val="1"/>
          <dgm:bulletEnabled val="1"/>
        </dgm:presLayoutVars>
      </dgm:prSet>
      <dgm:spPr/>
    </dgm:pt>
    <dgm:pt modelId="{2626C307-1CBF-4595-A8DF-C10BC5834D7C}" type="pres">
      <dgm:prSet presAssocID="{FADA6794-27FA-4034-BFE3-204F633FEE91}" presName="descendantText" presStyleLbl="alignAcc1" presStyleIdx="3" presStyleCnt="5">
        <dgm:presLayoutVars>
          <dgm:bulletEnabled val="1"/>
        </dgm:presLayoutVars>
      </dgm:prSet>
      <dgm:spPr/>
    </dgm:pt>
    <dgm:pt modelId="{EE2B79B7-850B-4D57-82B2-46B374A27AF8}" type="pres">
      <dgm:prSet presAssocID="{C931B197-E2E4-474C-A0FA-93604996293A}" presName="sp" presStyleCnt="0"/>
      <dgm:spPr/>
    </dgm:pt>
    <dgm:pt modelId="{6699385C-ED71-4B3F-BC13-2E1AF7E4EFD5}" type="pres">
      <dgm:prSet presAssocID="{28E35EAD-1BD8-40AC-987C-26D76F37120C}" presName="composite" presStyleCnt="0"/>
      <dgm:spPr/>
    </dgm:pt>
    <dgm:pt modelId="{4A4793E4-9224-43DA-BADB-1DC06B0AB0F6}" type="pres">
      <dgm:prSet presAssocID="{28E35EAD-1BD8-40AC-987C-26D76F37120C}" presName="parentText" presStyleLbl="alignNode1" presStyleIdx="4" presStyleCnt="5">
        <dgm:presLayoutVars>
          <dgm:chMax val="1"/>
          <dgm:bulletEnabled val="1"/>
        </dgm:presLayoutVars>
      </dgm:prSet>
      <dgm:spPr/>
    </dgm:pt>
    <dgm:pt modelId="{F24C8376-C97C-4E1D-8FD7-715A8F57FC2A}" type="pres">
      <dgm:prSet presAssocID="{28E35EAD-1BD8-40AC-987C-26D76F37120C}" presName="descendantText" presStyleLbl="alignAcc1" presStyleIdx="4" presStyleCnt="5">
        <dgm:presLayoutVars>
          <dgm:bulletEnabled val="1"/>
        </dgm:presLayoutVars>
      </dgm:prSet>
      <dgm:spPr/>
    </dgm:pt>
  </dgm:ptLst>
  <dgm:cxnLst>
    <dgm:cxn modelId="{3D234702-AAB2-4217-AE43-E265929B73C9}" srcId="{28E35EAD-1BD8-40AC-987C-26D76F37120C}" destId="{976D0A3A-55BB-49C4-A22B-3677CDD7F0E2}" srcOrd="0" destOrd="0" parTransId="{C60A9B6C-4DA1-4FA5-A48D-B29A6EED674A}" sibTransId="{C1C79B77-8CCE-4505-98BA-0F64CA4C0CFB}"/>
    <dgm:cxn modelId="{223E920B-D22E-4DCD-886D-E9C0CEC431A8}" srcId="{CE9B43BC-DED4-47B9-B05B-4B89B04E6E37}" destId="{76BB05CB-1433-4A21-84C7-6DD4B97A5733}" srcOrd="2" destOrd="0" parTransId="{2B355450-76F8-4F65-BEA4-017CCE3F18E1}" sibTransId="{C42F9F4E-2E31-44FA-9A30-6FB791615C3A}"/>
    <dgm:cxn modelId="{ACFF3A0C-68DF-418B-8F61-81E91D025885}" type="presOf" srcId="{FADA6794-27FA-4034-BFE3-204F633FEE91}" destId="{56552399-F447-4D7C-B9B0-786BAB0D0631}" srcOrd="0" destOrd="0" presId="urn:microsoft.com/office/officeart/2005/8/layout/chevron2"/>
    <dgm:cxn modelId="{6FF3BD10-8280-4794-90C1-2433C7B102A2}" srcId="{78277A09-A206-4B79-9901-874018782C91}" destId="{34B09C95-5FE2-4532-916C-23989D03FB89}" srcOrd="0" destOrd="0" parTransId="{EA359620-8047-46F0-8F67-0C36D91F145E}" sibTransId="{9FF65BCE-36C4-4F5F-A1C3-8DF8FB551C0D}"/>
    <dgm:cxn modelId="{178C1819-464D-40B1-9509-4D4C86EC5323}" type="presOf" srcId="{CE9B43BC-DED4-47B9-B05B-4B89B04E6E37}" destId="{08D10DF2-E41C-4554-9490-D20DAA5BCA16}" srcOrd="0" destOrd="0" presId="urn:microsoft.com/office/officeart/2005/8/layout/chevron2"/>
    <dgm:cxn modelId="{CB8DD625-08F0-4AF7-8EFA-F3631133121A}" type="presOf" srcId="{78277A09-A206-4B79-9901-874018782C91}" destId="{6FE5D44E-8E86-49E4-9818-DB0B78F22557}" srcOrd="0" destOrd="0" presId="urn:microsoft.com/office/officeart/2005/8/layout/chevron2"/>
    <dgm:cxn modelId="{9D317634-F91E-4C0F-BEC9-B15C9E985898}" type="presOf" srcId="{34B09C95-5FE2-4532-916C-23989D03FB89}" destId="{BE031E00-E29E-4738-BECA-1313BA3A534E}" srcOrd="0" destOrd="0" presId="urn:microsoft.com/office/officeart/2005/8/layout/chevron2"/>
    <dgm:cxn modelId="{7B4C8D35-F101-4AB7-844B-5E7979E5E1C1}" type="presOf" srcId="{3F789AC0-8EB5-4B88-84B7-B9BA42D49DB0}" destId="{2626C307-1CBF-4595-A8DF-C10BC5834D7C}" srcOrd="0" destOrd="0" presId="urn:microsoft.com/office/officeart/2005/8/layout/chevron2"/>
    <dgm:cxn modelId="{464FA05C-E8E6-4EE1-958E-4D7F4ED84D64}" type="presOf" srcId="{3224B9AC-0BEC-4558-B39C-5AB966D71F17}" destId="{927EF1DB-5741-493C-A6BC-323182493216}" srcOrd="0" destOrd="0" presId="urn:microsoft.com/office/officeart/2005/8/layout/chevron2"/>
    <dgm:cxn modelId="{6EE8CF67-F2E2-4AF1-B6ED-417814E80D48}" type="presOf" srcId="{976D0A3A-55BB-49C4-A22B-3677CDD7F0E2}" destId="{F24C8376-C97C-4E1D-8FD7-715A8F57FC2A}" srcOrd="0" destOrd="0" presId="urn:microsoft.com/office/officeart/2005/8/layout/chevron2"/>
    <dgm:cxn modelId="{E3EDF56D-C5BA-4AAA-A8C4-32C6D39FAAB0}" type="presOf" srcId="{76BB05CB-1433-4A21-84C7-6DD4B97A5733}" destId="{F39598BF-DF1E-4FF3-BFC3-58232C62E808}" srcOrd="0" destOrd="0" presId="urn:microsoft.com/office/officeart/2005/8/layout/chevron2"/>
    <dgm:cxn modelId="{319AB74F-FE5A-46C2-AF15-DB4F3B073D7C}" type="presOf" srcId="{4EC3F407-E8DF-42A9-BF1E-A420022926DB}" destId="{9AD83B76-4817-41CC-8ECA-1E5023005A3A}" srcOrd="0" destOrd="0" presId="urn:microsoft.com/office/officeart/2005/8/layout/chevron2"/>
    <dgm:cxn modelId="{3F35A693-03B2-4369-ADE4-DAB1C6C0D1AE}" type="presOf" srcId="{B63E8AA4-48A8-4316-AAE5-A5C2FC0E40DD}" destId="{A4F7F6DD-F011-428B-8567-C29DB8FA414A}" srcOrd="0" destOrd="0" presId="urn:microsoft.com/office/officeart/2005/8/layout/chevron2"/>
    <dgm:cxn modelId="{CDF105A0-8CDB-4B55-8EE5-A56A76BF8FE6}" srcId="{CE9B43BC-DED4-47B9-B05B-4B89B04E6E37}" destId="{78277A09-A206-4B79-9901-874018782C91}" srcOrd="1" destOrd="0" parTransId="{DD427696-DD5D-41F6-881C-4D4CBBD75D26}" sibTransId="{35BBE93D-66E3-4AB5-B59D-2C1A0519A8C5}"/>
    <dgm:cxn modelId="{5AF1F8C1-AB68-4F22-BAFE-9C1004293C7E}" srcId="{CE9B43BC-DED4-47B9-B05B-4B89B04E6E37}" destId="{28E35EAD-1BD8-40AC-987C-26D76F37120C}" srcOrd="4" destOrd="0" parTransId="{93B63077-0785-4113-9296-DD4AF0C61268}" sibTransId="{B5AAB633-9B71-4275-98A5-99BF9890D745}"/>
    <dgm:cxn modelId="{05420FC5-9F12-4F79-B701-1FB26A1C4224}" srcId="{CE9B43BC-DED4-47B9-B05B-4B89B04E6E37}" destId="{3224B9AC-0BEC-4558-B39C-5AB966D71F17}" srcOrd="0" destOrd="0" parTransId="{F18EC743-29C4-4E9A-BC83-CDA9A14CB0C8}" sibTransId="{3F3EBE27-AB1B-4471-9163-E689ADDE648B}"/>
    <dgm:cxn modelId="{4DA72DCD-4428-465B-8AA2-FCD6F7C8B457}" srcId="{FADA6794-27FA-4034-BFE3-204F633FEE91}" destId="{3F789AC0-8EB5-4B88-84B7-B9BA42D49DB0}" srcOrd="0" destOrd="0" parTransId="{4774A1CF-E246-468A-AC78-137A4E3E0378}" sibTransId="{10C22EA9-E3C6-4801-A58E-698A4BA651C8}"/>
    <dgm:cxn modelId="{87E9E5D2-2727-459A-93E6-FA29B233AACD}" srcId="{3224B9AC-0BEC-4558-B39C-5AB966D71F17}" destId="{4EC3F407-E8DF-42A9-BF1E-A420022926DB}" srcOrd="0" destOrd="0" parTransId="{9EE3538C-DF13-4643-AFA4-551F05B0D027}" sibTransId="{F7192FB0-9F7D-4193-8D3E-60D0456D994D}"/>
    <dgm:cxn modelId="{57B47FD7-6679-4AB2-B01F-4CD614B9D5B3}" srcId="{CE9B43BC-DED4-47B9-B05B-4B89B04E6E37}" destId="{FADA6794-27FA-4034-BFE3-204F633FEE91}" srcOrd="3" destOrd="0" parTransId="{AC847452-882A-4273-8083-D339D9E1DD1E}" sibTransId="{C931B197-E2E4-474C-A0FA-93604996293A}"/>
    <dgm:cxn modelId="{3244B5E3-1DD0-46A7-8036-FAB1CE198012}" srcId="{76BB05CB-1433-4A21-84C7-6DD4B97A5733}" destId="{B63E8AA4-48A8-4316-AAE5-A5C2FC0E40DD}" srcOrd="0" destOrd="0" parTransId="{41BA7570-2FCF-4AF5-9E18-2F21B506FB83}" sibTransId="{05522541-AC20-4B33-9B5C-9CE69B299814}"/>
    <dgm:cxn modelId="{156DEDFA-C579-41ED-B252-B1C49BCCAFF0}" type="presOf" srcId="{28E35EAD-1BD8-40AC-987C-26D76F37120C}" destId="{4A4793E4-9224-43DA-BADB-1DC06B0AB0F6}" srcOrd="0" destOrd="0" presId="urn:microsoft.com/office/officeart/2005/8/layout/chevron2"/>
    <dgm:cxn modelId="{FD3851E5-62AD-4A65-9B98-31CDC7B57360}" type="presParOf" srcId="{08D10DF2-E41C-4554-9490-D20DAA5BCA16}" destId="{0889A8CF-3144-480F-AC57-DDBC04A66F08}" srcOrd="0" destOrd="0" presId="urn:microsoft.com/office/officeart/2005/8/layout/chevron2"/>
    <dgm:cxn modelId="{087FDF6C-86F6-4C1F-B078-4EFEC9EB7E07}" type="presParOf" srcId="{0889A8CF-3144-480F-AC57-DDBC04A66F08}" destId="{927EF1DB-5741-493C-A6BC-323182493216}" srcOrd="0" destOrd="0" presId="urn:microsoft.com/office/officeart/2005/8/layout/chevron2"/>
    <dgm:cxn modelId="{65F6BEEF-CD9E-489D-89FB-A35F9DB130BA}" type="presParOf" srcId="{0889A8CF-3144-480F-AC57-DDBC04A66F08}" destId="{9AD83B76-4817-41CC-8ECA-1E5023005A3A}" srcOrd="1" destOrd="0" presId="urn:microsoft.com/office/officeart/2005/8/layout/chevron2"/>
    <dgm:cxn modelId="{DEAF1765-0DCA-413B-B671-DC7DE61AAC44}" type="presParOf" srcId="{08D10DF2-E41C-4554-9490-D20DAA5BCA16}" destId="{212CA65B-A4CB-4030-B0CC-6838AAC74967}" srcOrd="1" destOrd="0" presId="urn:microsoft.com/office/officeart/2005/8/layout/chevron2"/>
    <dgm:cxn modelId="{7A3638AF-99B0-4A9A-9F52-81C0469C291F}" type="presParOf" srcId="{08D10DF2-E41C-4554-9490-D20DAA5BCA16}" destId="{EFCCC388-3CED-4880-8C97-052768DB1155}" srcOrd="2" destOrd="0" presId="urn:microsoft.com/office/officeart/2005/8/layout/chevron2"/>
    <dgm:cxn modelId="{D349EE49-5F26-4740-A87E-B10B3F062C12}" type="presParOf" srcId="{EFCCC388-3CED-4880-8C97-052768DB1155}" destId="{6FE5D44E-8E86-49E4-9818-DB0B78F22557}" srcOrd="0" destOrd="0" presId="urn:microsoft.com/office/officeart/2005/8/layout/chevron2"/>
    <dgm:cxn modelId="{9B5A73C0-1952-4F3A-94B6-2DCCD7125895}" type="presParOf" srcId="{EFCCC388-3CED-4880-8C97-052768DB1155}" destId="{BE031E00-E29E-4738-BECA-1313BA3A534E}" srcOrd="1" destOrd="0" presId="urn:microsoft.com/office/officeart/2005/8/layout/chevron2"/>
    <dgm:cxn modelId="{A0B870C0-031D-4641-AA67-B1A7DCB86596}" type="presParOf" srcId="{08D10DF2-E41C-4554-9490-D20DAA5BCA16}" destId="{160BEFF8-4B70-4D72-9E1A-E1B6C09F2A3C}" srcOrd="3" destOrd="0" presId="urn:microsoft.com/office/officeart/2005/8/layout/chevron2"/>
    <dgm:cxn modelId="{54C88AEF-7973-4BE7-B511-27EBF9E20025}" type="presParOf" srcId="{08D10DF2-E41C-4554-9490-D20DAA5BCA16}" destId="{DB315CFE-FA70-406E-83B9-31AFE0E38AE0}" srcOrd="4" destOrd="0" presId="urn:microsoft.com/office/officeart/2005/8/layout/chevron2"/>
    <dgm:cxn modelId="{4E96836A-712E-4373-91B4-9D833EBA56F2}" type="presParOf" srcId="{DB315CFE-FA70-406E-83B9-31AFE0E38AE0}" destId="{F39598BF-DF1E-4FF3-BFC3-58232C62E808}" srcOrd="0" destOrd="0" presId="urn:microsoft.com/office/officeart/2005/8/layout/chevron2"/>
    <dgm:cxn modelId="{50CF91EC-9D85-401B-8AFE-BA5960634C9F}" type="presParOf" srcId="{DB315CFE-FA70-406E-83B9-31AFE0E38AE0}" destId="{A4F7F6DD-F011-428B-8567-C29DB8FA414A}" srcOrd="1" destOrd="0" presId="urn:microsoft.com/office/officeart/2005/8/layout/chevron2"/>
    <dgm:cxn modelId="{7B285E4B-9B40-4732-A824-8D39FB5A5F3F}" type="presParOf" srcId="{08D10DF2-E41C-4554-9490-D20DAA5BCA16}" destId="{42EA8D7E-219B-4274-A2A6-49D06100F8EC}" srcOrd="5" destOrd="0" presId="urn:microsoft.com/office/officeart/2005/8/layout/chevron2"/>
    <dgm:cxn modelId="{A3037FD6-B93F-48E2-9023-F718A7DA2F75}" type="presParOf" srcId="{08D10DF2-E41C-4554-9490-D20DAA5BCA16}" destId="{9CB8064A-EAD7-47B4-B1F2-1E5C76B95038}" srcOrd="6" destOrd="0" presId="urn:microsoft.com/office/officeart/2005/8/layout/chevron2"/>
    <dgm:cxn modelId="{E77932D8-D051-41C6-A3BF-B08C7753862A}" type="presParOf" srcId="{9CB8064A-EAD7-47B4-B1F2-1E5C76B95038}" destId="{56552399-F447-4D7C-B9B0-786BAB0D0631}" srcOrd="0" destOrd="0" presId="urn:microsoft.com/office/officeart/2005/8/layout/chevron2"/>
    <dgm:cxn modelId="{E73483F4-C053-407F-8A63-A2D95B4F407B}" type="presParOf" srcId="{9CB8064A-EAD7-47B4-B1F2-1E5C76B95038}" destId="{2626C307-1CBF-4595-A8DF-C10BC5834D7C}" srcOrd="1" destOrd="0" presId="urn:microsoft.com/office/officeart/2005/8/layout/chevron2"/>
    <dgm:cxn modelId="{1B562181-8AEE-475F-9793-314B951B3E8E}" type="presParOf" srcId="{08D10DF2-E41C-4554-9490-D20DAA5BCA16}" destId="{EE2B79B7-850B-4D57-82B2-46B374A27AF8}" srcOrd="7" destOrd="0" presId="urn:microsoft.com/office/officeart/2005/8/layout/chevron2"/>
    <dgm:cxn modelId="{29668EAD-97B5-4727-A148-F1C6E0547FED}" type="presParOf" srcId="{08D10DF2-E41C-4554-9490-D20DAA5BCA16}" destId="{6699385C-ED71-4B3F-BC13-2E1AF7E4EFD5}" srcOrd="8" destOrd="0" presId="urn:microsoft.com/office/officeart/2005/8/layout/chevron2"/>
    <dgm:cxn modelId="{3858E364-7A9E-4126-8BA9-E0D2E7A060A2}" type="presParOf" srcId="{6699385C-ED71-4B3F-BC13-2E1AF7E4EFD5}" destId="{4A4793E4-9224-43DA-BADB-1DC06B0AB0F6}" srcOrd="0" destOrd="0" presId="urn:microsoft.com/office/officeart/2005/8/layout/chevron2"/>
    <dgm:cxn modelId="{E41F0B34-1089-455D-ABAC-BB9B92013DEF}" type="presParOf" srcId="{6699385C-ED71-4B3F-BC13-2E1AF7E4EFD5}" destId="{F24C8376-C97C-4E1D-8FD7-715A8F57FC2A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E9B43BC-DED4-47B9-B05B-4B89B04E6E37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3224B9AC-0BEC-4558-B39C-5AB966D71F17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1</a:t>
          </a:r>
        </a:p>
      </dgm:t>
    </dgm:pt>
    <dgm:pt modelId="{F18EC743-29C4-4E9A-BC83-CDA9A14CB0C8}" type="parTrans" cxnId="{05420FC5-9F12-4F79-B701-1FB26A1C4224}">
      <dgm:prSet/>
      <dgm:spPr/>
      <dgm:t>
        <a:bodyPr/>
        <a:lstStyle/>
        <a:p>
          <a:endParaRPr lang="pt-BR"/>
        </a:p>
      </dgm:t>
    </dgm:pt>
    <dgm:pt modelId="{3F3EBE27-AB1B-4471-9163-E689ADDE648B}" type="sibTrans" cxnId="{05420FC5-9F12-4F79-B701-1FB26A1C4224}">
      <dgm:prSet/>
      <dgm:spPr/>
      <dgm:t>
        <a:bodyPr/>
        <a:lstStyle/>
        <a:p>
          <a:endParaRPr lang="pt-BR"/>
        </a:p>
      </dgm:t>
    </dgm:pt>
    <dgm:pt modelId="{4EC3F407-E8DF-42A9-BF1E-A420022926DB}">
      <dgm:prSet phldrT="[Text]"/>
      <dgm:spPr/>
      <dgm:t>
        <a:bodyPr/>
        <a:lstStyle/>
        <a:p>
          <a:r>
            <a:rPr lang="pt-BR" dirty="0"/>
            <a:t>Gerar chave privada de 2048 bits;</a:t>
          </a:r>
        </a:p>
      </dgm:t>
    </dgm:pt>
    <dgm:pt modelId="{9EE3538C-DF13-4643-AFA4-551F05B0D027}" type="parTrans" cxnId="{87E9E5D2-2727-459A-93E6-FA29B233AACD}">
      <dgm:prSet/>
      <dgm:spPr/>
      <dgm:t>
        <a:bodyPr/>
        <a:lstStyle/>
        <a:p>
          <a:endParaRPr lang="pt-BR"/>
        </a:p>
      </dgm:t>
    </dgm:pt>
    <dgm:pt modelId="{F7192FB0-9F7D-4193-8D3E-60D0456D994D}" type="sibTrans" cxnId="{87E9E5D2-2727-459A-93E6-FA29B233AACD}">
      <dgm:prSet/>
      <dgm:spPr/>
      <dgm:t>
        <a:bodyPr/>
        <a:lstStyle/>
        <a:p>
          <a:endParaRPr lang="pt-BR"/>
        </a:p>
      </dgm:t>
    </dgm:pt>
    <dgm:pt modelId="{78277A09-A206-4B79-9901-874018782C91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2</a:t>
          </a:r>
        </a:p>
      </dgm:t>
    </dgm:pt>
    <dgm:pt modelId="{DD427696-DD5D-41F6-881C-4D4CBBD75D26}" type="parTrans" cxnId="{CDF105A0-8CDB-4B55-8EE5-A56A76BF8FE6}">
      <dgm:prSet/>
      <dgm:spPr/>
      <dgm:t>
        <a:bodyPr/>
        <a:lstStyle/>
        <a:p>
          <a:endParaRPr lang="pt-BR"/>
        </a:p>
      </dgm:t>
    </dgm:pt>
    <dgm:pt modelId="{35BBE93D-66E3-4AB5-B59D-2C1A0519A8C5}" type="sibTrans" cxnId="{CDF105A0-8CDB-4B55-8EE5-A56A76BF8FE6}">
      <dgm:prSet/>
      <dgm:spPr/>
      <dgm:t>
        <a:bodyPr/>
        <a:lstStyle/>
        <a:p>
          <a:endParaRPr lang="pt-BR"/>
        </a:p>
      </dgm:t>
    </dgm:pt>
    <dgm:pt modelId="{34B09C95-5FE2-4532-916C-23989D03FB89}">
      <dgm:prSet phldrT="[Text]"/>
      <dgm:spPr/>
      <dgm:t>
        <a:bodyPr/>
        <a:lstStyle/>
        <a:p>
          <a:r>
            <a:rPr lang="pt-BR" dirty="0"/>
            <a:t>Gerar um Certificado digital com formado X509, </a:t>
          </a:r>
          <a:r>
            <a:rPr lang="pt-BR" dirty="0" err="1"/>
            <a:t>autoassinado</a:t>
          </a:r>
          <a:r>
            <a:rPr lang="pt-BR" dirty="0"/>
            <a:t> com a chave privada gerada, e tamanho até 4KB;</a:t>
          </a:r>
        </a:p>
      </dgm:t>
    </dgm:pt>
    <dgm:pt modelId="{EA359620-8047-46F0-8F67-0C36D91F145E}" type="parTrans" cxnId="{6FF3BD10-8280-4794-90C1-2433C7B102A2}">
      <dgm:prSet/>
      <dgm:spPr/>
      <dgm:t>
        <a:bodyPr/>
        <a:lstStyle/>
        <a:p>
          <a:endParaRPr lang="pt-BR"/>
        </a:p>
      </dgm:t>
    </dgm:pt>
    <dgm:pt modelId="{9FF65BCE-36C4-4F5F-A1C3-8DF8FB551C0D}" type="sibTrans" cxnId="{6FF3BD10-8280-4794-90C1-2433C7B102A2}">
      <dgm:prSet/>
      <dgm:spPr/>
      <dgm:t>
        <a:bodyPr/>
        <a:lstStyle/>
        <a:p>
          <a:endParaRPr lang="pt-BR"/>
        </a:p>
      </dgm:t>
    </dgm:pt>
    <dgm:pt modelId="{76BB05CB-1433-4A21-84C7-6DD4B97A5733}">
      <dgm:prSet phldrT="[Text]"/>
      <dgm:spPr/>
      <dgm:t>
        <a:bodyPr/>
        <a:lstStyle/>
        <a:p>
          <a:r>
            <a:rPr lang="pt-BR" dirty="0"/>
            <a:t>3</a:t>
          </a:r>
        </a:p>
      </dgm:t>
    </dgm:pt>
    <dgm:pt modelId="{2B355450-76F8-4F65-BEA4-017CCE3F18E1}" type="parTrans" cxnId="{223E920B-D22E-4DCD-886D-E9C0CEC431A8}">
      <dgm:prSet/>
      <dgm:spPr/>
      <dgm:t>
        <a:bodyPr/>
        <a:lstStyle/>
        <a:p>
          <a:endParaRPr lang="pt-BR"/>
        </a:p>
      </dgm:t>
    </dgm:pt>
    <dgm:pt modelId="{C42F9F4E-2E31-44FA-9A30-6FB791615C3A}" type="sibTrans" cxnId="{223E920B-D22E-4DCD-886D-E9C0CEC431A8}">
      <dgm:prSet/>
      <dgm:spPr/>
      <dgm:t>
        <a:bodyPr/>
        <a:lstStyle/>
        <a:p>
          <a:endParaRPr lang="pt-BR"/>
        </a:p>
      </dgm:t>
    </dgm:pt>
    <dgm:pt modelId="{B63E8AA4-48A8-4316-AAE5-A5C2FC0E40DD}">
      <dgm:prSet phldrT="[Text]"/>
      <dgm:spPr/>
      <dgm:t>
        <a:bodyPr/>
        <a:lstStyle/>
        <a:p>
          <a:r>
            <a:rPr lang="pt-BR" dirty="0"/>
            <a:t>Setup Salesforce: Importar Certificado,  Configurar usuário e perfil de integração, Configurações de sessão e politicas.</a:t>
          </a:r>
        </a:p>
      </dgm:t>
    </dgm:pt>
    <dgm:pt modelId="{41BA7570-2FCF-4AF5-9E18-2F21B506FB83}" type="parTrans" cxnId="{3244B5E3-1DD0-46A7-8036-FAB1CE198012}">
      <dgm:prSet/>
      <dgm:spPr/>
      <dgm:t>
        <a:bodyPr/>
        <a:lstStyle/>
        <a:p>
          <a:endParaRPr lang="pt-BR"/>
        </a:p>
      </dgm:t>
    </dgm:pt>
    <dgm:pt modelId="{05522541-AC20-4B33-9B5C-9CE69B299814}" type="sibTrans" cxnId="{3244B5E3-1DD0-46A7-8036-FAB1CE198012}">
      <dgm:prSet/>
      <dgm:spPr/>
      <dgm:t>
        <a:bodyPr/>
        <a:lstStyle/>
        <a:p>
          <a:endParaRPr lang="pt-BR"/>
        </a:p>
      </dgm:t>
    </dgm:pt>
    <dgm:pt modelId="{FADA6794-27FA-4034-BFE3-204F633FEE91}">
      <dgm:prSet phldrT="[Text]"/>
      <dgm:spPr/>
      <dgm:t>
        <a:bodyPr/>
        <a:lstStyle/>
        <a:p>
          <a:r>
            <a:rPr lang="pt-BR" dirty="0"/>
            <a:t>4</a:t>
          </a:r>
        </a:p>
      </dgm:t>
    </dgm:pt>
    <dgm:pt modelId="{AC847452-882A-4273-8083-D339D9E1DD1E}" type="parTrans" cxnId="{57B47FD7-6679-4AB2-B01F-4CD614B9D5B3}">
      <dgm:prSet/>
      <dgm:spPr/>
      <dgm:t>
        <a:bodyPr/>
        <a:lstStyle/>
        <a:p>
          <a:endParaRPr lang="pt-BR"/>
        </a:p>
      </dgm:t>
    </dgm:pt>
    <dgm:pt modelId="{C931B197-E2E4-474C-A0FA-93604996293A}" type="sibTrans" cxnId="{57B47FD7-6679-4AB2-B01F-4CD614B9D5B3}">
      <dgm:prSet/>
      <dgm:spPr/>
      <dgm:t>
        <a:bodyPr/>
        <a:lstStyle/>
        <a:p>
          <a:endParaRPr lang="pt-BR"/>
        </a:p>
      </dgm:t>
    </dgm:pt>
    <dgm:pt modelId="{3F789AC0-8EB5-4B88-84B7-B9BA42D49DB0}">
      <dgm:prSet/>
      <dgm:spPr/>
      <dgm:t>
        <a:bodyPr/>
        <a:lstStyle/>
        <a:p>
          <a:r>
            <a:rPr lang="pt-BR" dirty="0"/>
            <a:t>Gerar JWT com algoritmo de criptográfica RS256;</a:t>
          </a:r>
        </a:p>
      </dgm:t>
    </dgm:pt>
    <dgm:pt modelId="{4774A1CF-E246-468A-AC78-137A4E3E0378}" type="parTrans" cxnId="{4DA72DCD-4428-465B-8AA2-FCD6F7C8B457}">
      <dgm:prSet/>
      <dgm:spPr/>
      <dgm:t>
        <a:bodyPr/>
        <a:lstStyle/>
        <a:p>
          <a:endParaRPr lang="pt-BR"/>
        </a:p>
      </dgm:t>
    </dgm:pt>
    <dgm:pt modelId="{10C22EA9-E3C6-4801-A58E-698A4BA651C8}" type="sibTrans" cxnId="{4DA72DCD-4428-465B-8AA2-FCD6F7C8B457}">
      <dgm:prSet/>
      <dgm:spPr/>
      <dgm:t>
        <a:bodyPr/>
        <a:lstStyle/>
        <a:p>
          <a:endParaRPr lang="pt-BR"/>
        </a:p>
      </dgm:t>
    </dgm:pt>
    <dgm:pt modelId="{28E35EAD-1BD8-40AC-987C-26D76F37120C}">
      <dgm:prSet/>
      <dgm:spPr/>
      <dgm:t>
        <a:bodyPr/>
        <a:lstStyle/>
        <a:p>
          <a:r>
            <a:rPr lang="pt-BR" dirty="0"/>
            <a:t>5</a:t>
          </a:r>
        </a:p>
      </dgm:t>
    </dgm:pt>
    <dgm:pt modelId="{93B63077-0785-4113-9296-DD4AF0C61268}" type="parTrans" cxnId="{5AF1F8C1-AB68-4F22-BAFE-9C1004293C7E}">
      <dgm:prSet/>
      <dgm:spPr/>
      <dgm:t>
        <a:bodyPr/>
        <a:lstStyle/>
        <a:p>
          <a:endParaRPr lang="pt-BR"/>
        </a:p>
      </dgm:t>
    </dgm:pt>
    <dgm:pt modelId="{B5AAB633-9B71-4275-98A5-99BF9890D745}" type="sibTrans" cxnId="{5AF1F8C1-AB68-4F22-BAFE-9C1004293C7E}">
      <dgm:prSet/>
      <dgm:spPr/>
      <dgm:t>
        <a:bodyPr/>
        <a:lstStyle/>
        <a:p>
          <a:endParaRPr lang="pt-BR"/>
        </a:p>
      </dgm:t>
    </dgm:pt>
    <dgm:pt modelId="{976D0A3A-55BB-49C4-A22B-3677CDD7F0E2}">
      <dgm:prSet/>
      <dgm:spPr/>
      <dgm:t>
        <a:bodyPr/>
        <a:lstStyle/>
        <a:p>
          <a:r>
            <a:rPr lang="pt-BR" dirty="0"/>
            <a:t>Envio de requisição (Grant </a:t>
          </a:r>
          <a:r>
            <a:rPr lang="pt-BR" dirty="0" err="1"/>
            <a:t>type</a:t>
          </a:r>
          <a:r>
            <a:rPr lang="pt-BR" dirty="0"/>
            <a:t> + JWT)</a:t>
          </a:r>
        </a:p>
      </dgm:t>
    </dgm:pt>
    <dgm:pt modelId="{C60A9B6C-4DA1-4FA5-A48D-B29A6EED674A}" type="parTrans" cxnId="{3D234702-AAB2-4217-AE43-E265929B73C9}">
      <dgm:prSet/>
      <dgm:spPr/>
      <dgm:t>
        <a:bodyPr/>
        <a:lstStyle/>
        <a:p>
          <a:endParaRPr lang="pt-BR"/>
        </a:p>
      </dgm:t>
    </dgm:pt>
    <dgm:pt modelId="{C1C79B77-8CCE-4505-98BA-0F64CA4C0CFB}" type="sibTrans" cxnId="{3D234702-AAB2-4217-AE43-E265929B73C9}">
      <dgm:prSet/>
      <dgm:spPr/>
      <dgm:t>
        <a:bodyPr/>
        <a:lstStyle/>
        <a:p>
          <a:endParaRPr lang="pt-BR"/>
        </a:p>
      </dgm:t>
    </dgm:pt>
    <dgm:pt modelId="{08D10DF2-E41C-4554-9490-D20DAA5BCA16}" type="pres">
      <dgm:prSet presAssocID="{CE9B43BC-DED4-47B9-B05B-4B89B04E6E37}" presName="linearFlow" presStyleCnt="0">
        <dgm:presLayoutVars>
          <dgm:dir/>
          <dgm:animLvl val="lvl"/>
          <dgm:resizeHandles val="exact"/>
        </dgm:presLayoutVars>
      </dgm:prSet>
      <dgm:spPr/>
    </dgm:pt>
    <dgm:pt modelId="{0889A8CF-3144-480F-AC57-DDBC04A66F08}" type="pres">
      <dgm:prSet presAssocID="{3224B9AC-0BEC-4558-B39C-5AB966D71F17}" presName="composite" presStyleCnt="0"/>
      <dgm:spPr/>
    </dgm:pt>
    <dgm:pt modelId="{927EF1DB-5741-493C-A6BC-323182493216}" type="pres">
      <dgm:prSet presAssocID="{3224B9AC-0BEC-4558-B39C-5AB966D71F17}" presName="parentText" presStyleLbl="alignNode1" presStyleIdx="0" presStyleCnt="5">
        <dgm:presLayoutVars>
          <dgm:chMax val="1"/>
          <dgm:bulletEnabled val="1"/>
        </dgm:presLayoutVars>
      </dgm:prSet>
      <dgm:spPr/>
    </dgm:pt>
    <dgm:pt modelId="{9AD83B76-4817-41CC-8ECA-1E5023005A3A}" type="pres">
      <dgm:prSet presAssocID="{3224B9AC-0BEC-4558-B39C-5AB966D71F17}" presName="descendantText" presStyleLbl="alignAcc1" presStyleIdx="0" presStyleCnt="5">
        <dgm:presLayoutVars>
          <dgm:bulletEnabled val="1"/>
        </dgm:presLayoutVars>
      </dgm:prSet>
      <dgm:spPr/>
    </dgm:pt>
    <dgm:pt modelId="{212CA65B-A4CB-4030-B0CC-6838AAC74967}" type="pres">
      <dgm:prSet presAssocID="{3F3EBE27-AB1B-4471-9163-E689ADDE648B}" presName="sp" presStyleCnt="0"/>
      <dgm:spPr/>
    </dgm:pt>
    <dgm:pt modelId="{EFCCC388-3CED-4880-8C97-052768DB1155}" type="pres">
      <dgm:prSet presAssocID="{78277A09-A206-4B79-9901-874018782C91}" presName="composite" presStyleCnt="0"/>
      <dgm:spPr/>
    </dgm:pt>
    <dgm:pt modelId="{6FE5D44E-8E86-49E4-9818-DB0B78F22557}" type="pres">
      <dgm:prSet presAssocID="{78277A09-A206-4B79-9901-874018782C91}" presName="parentText" presStyleLbl="alignNode1" presStyleIdx="1" presStyleCnt="5">
        <dgm:presLayoutVars>
          <dgm:chMax val="1"/>
          <dgm:bulletEnabled val="1"/>
        </dgm:presLayoutVars>
      </dgm:prSet>
      <dgm:spPr/>
    </dgm:pt>
    <dgm:pt modelId="{BE031E00-E29E-4738-BECA-1313BA3A534E}" type="pres">
      <dgm:prSet presAssocID="{78277A09-A206-4B79-9901-874018782C91}" presName="descendantText" presStyleLbl="alignAcc1" presStyleIdx="1" presStyleCnt="5">
        <dgm:presLayoutVars>
          <dgm:bulletEnabled val="1"/>
        </dgm:presLayoutVars>
      </dgm:prSet>
      <dgm:spPr/>
    </dgm:pt>
    <dgm:pt modelId="{160BEFF8-4B70-4D72-9E1A-E1B6C09F2A3C}" type="pres">
      <dgm:prSet presAssocID="{35BBE93D-66E3-4AB5-B59D-2C1A0519A8C5}" presName="sp" presStyleCnt="0"/>
      <dgm:spPr/>
    </dgm:pt>
    <dgm:pt modelId="{DB315CFE-FA70-406E-83B9-31AFE0E38AE0}" type="pres">
      <dgm:prSet presAssocID="{76BB05CB-1433-4A21-84C7-6DD4B97A5733}" presName="composite" presStyleCnt="0"/>
      <dgm:spPr/>
    </dgm:pt>
    <dgm:pt modelId="{F39598BF-DF1E-4FF3-BFC3-58232C62E808}" type="pres">
      <dgm:prSet presAssocID="{76BB05CB-1433-4A21-84C7-6DD4B97A5733}" presName="parentText" presStyleLbl="alignNode1" presStyleIdx="2" presStyleCnt="5">
        <dgm:presLayoutVars>
          <dgm:chMax val="1"/>
          <dgm:bulletEnabled val="1"/>
        </dgm:presLayoutVars>
      </dgm:prSet>
      <dgm:spPr/>
    </dgm:pt>
    <dgm:pt modelId="{A4F7F6DD-F011-428B-8567-C29DB8FA414A}" type="pres">
      <dgm:prSet presAssocID="{76BB05CB-1433-4A21-84C7-6DD4B97A5733}" presName="descendantText" presStyleLbl="alignAcc1" presStyleIdx="2" presStyleCnt="5">
        <dgm:presLayoutVars>
          <dgm:bulletEnabled val="1"/>
        </dgm:presLayoutVars>
      </dgm:prSet>
      <dgm:spPr/>
    </dgm:pt>
    <dgm:pt modelId="{42EA8D7E-219B-4274-A2A6-49D06100F8EC}" type="pres">
      <dgm:prSet presAssocID="{C42F9F4E-2E31-44FA-9A30-6FB791615C3A}" presName="sp" presStyleCnt="0"/>
      <dgm:spPr/>
    </dgm:pt>
    <dgm:pt modelId="{9CB8064A-EAD7-47B4-B1F2-1E5C76B95038}" type="pres">
      <dgm:prSet presAssocID="{FADA6794-27FA-4034-BFE3-204F633FEE91}" presName="composite" presStyleCnt="0"/>
      <dgm:spPr/>
    </dgm:pt>
    <dgm:pt modelId="{56552399-F447-4D7C-B9B0-786BAB0D0631}" type="pres">
      <dgm:prSet presAssocID="{FADA6794-27FA-4034-BFE3-204F633FEE91}" presName="parentText" presStyleLbl="alignNode1" presStyleIdx="3" presStyleCnt="5">
        <dgm:presLayoutVars>
          <dgm:chMax val="1"/>
          <dgm:bulletEnabled val="1"/>
        </dgm:presLayoutVars>
      </dgm:prSet>
      <dgm:spPr/>
    </dgm:pt>
    <dgm:pt modelId="{2626C307-1CBF-4595-A8DF-C10BC5834D7C}" type="pres">
      <dgm:prSet presAssocID="{FADA6794-27FA-4034-BFE3-204F633FEE91}" presName="descendantText" presStyleLbl="alignAcc1" presStyleIdx="3" presStyleCnt="5">
        <dgm:presLayoutVars>
          <dgm:bulletEnabled val="1"/>
        </dgm:presLayoutVars>
      </dgm:prSet>
      <dgm:spPr/>
    </dgm:pt>
    <dgm:pt modelId="{EE2B79B7-850B-4D57-82B2-46B374A27AF8}" type="pres">
      <dgm:prSet presAssocID="{C931B197-E2E4-474C-A0FA-93604996293A}" presName="sp" presStyleCnt="0"/>
      <dgm:spPr/>
    </dgm:pt>
    <dgm:pt modelId="{6699385C-ED71-4B3F-BC13-2E1AF7E4EFD5}" type="pres">
      <dgm:prSet presAssocID="{28E35EAD-1BD8-40AC-987C-26D76F37120C}" presName="composite" presStyleCnt="0"/>
      <dgm:spPr/>
    </dgm:pt>
    <dgm:pt modelId="{4A4793E4-9224-43DA-BADB-1DC06B0AB0F6}" type="pres">
      <dgm:prSet presAssocID="{28E35EAD-1BD8-40AC-987C-26D76F37120C}" presName="parentText" presStyleLbl="alignNode1" presStyleIdx="4" presStyleCnt="5">
        <dgm:presLayoutVars>
          <dgm:chMax val="1"/>
          <dgm:bulletEnabled val="1"/>
        </dgm:presLayoutVars>
      </dgm:prSet>
      <dgm:spPr/>
    </dgm:pt>
    <dgm:pt modelId="{F24C8376-C97C-4E1D-8FD7-715A8F57FC2A}" type="pres">
      <dgm:prSet presAssocID="{28E35EAD-1BD8-40AC-987C-26D76F37120C}" presName="descendantText" presStyleLbl="alignAcc1" presStyleIdx="4" presStyleCnt="5">
        <dgm:presLayoutVars>
          <dgm:bulletEnabled val="1"/>
        </dgm:presLayoutVars>
      </dgm:prSet>
      <dgm:spPr/>
    </dgm:pt>
  </dgm:ptLst>
  <dgm:cxnLst>
    <dgm:cxn modelId="{3D234702-AAB2-4217-AE43-E265929B73C9}" srcId="{28E35EAD-1BD8-40AC-987C-26D76F37120C}" destId="{976D0A3A-55BB-49C4-A22B-3677CDD7F0E2}" srcOrd="0" destOrd="0" parTransId="{C60A9B6C-4DA1-4FA5-A48D-B29A6EED674A}" sibTransId="{C1C79B77-8CCE-4505-98BA-0F64CA4C0CFB}"/>
    <dgm:cxn modelId="{223E920B-D22E-4DCD-886D-E9C0CEC431A8}" srcId="{CE9B43BC-DED4-47B9-B05B-4B89B04E6E37}" destId="{76BB05CB-1433-4A21-84C7-6DD4B97A5733}" srcOrd="2" destOrd="0" parTransId="{2B355450-76F8-4F65-BEA4-017CCE3F18E1}" sibTransId="{C42F9F4E-2E31-44FA-9A30-6FB791615C3A}"/>
    <dgm:cxn modelId="{ACFF3A0C-68DF-418B-8F61-81E91D025885}" type="presOf" srcId="{FADA6794-27FA-4034-BFE3-204F633FEE91}" destId="{56552399-F447-4D7C-B9B0-786BAB0D0631}" srcOrd="0" destOrd="0" presId="urn:microsoft.com/office/officeart/2005/8/layout/chevron2"/>
    <dgm:cxn modelId="{6FF3BD10-8280-4794-90C1-2433C7B102A2}" srcId="{78277A09-A206-4B79-9901-874018782C91}" destId="{34B09C95-5FE2-4532-916C-23989D03FB89}" srcOrd="0" destOrd="0" parTransId="{EA359620-8047-46F0-8F67-0C36D91F145E}" sibTransId="{9FF65BCE-36C4-4F5F-A1C3-8DF8FB551C0D}"/>
    <dgm:cxn modelId="{178C1819-464D-40B1-9509-4D4C86EC5323}" type="presOf" srcId="{CE9B43BC-DED4-47B9-B05B-4B89B04E6E37}" destId="{08D10DF2-E41C-4554-9490-D20DAA5BCA16}" srcOrd="0" destOrd="0" presId="urn:microsoft.com/office/officeart/2005/8/layout/chevron2"/>
    <dgm:cxn modelId="{CB8DD625-08F0-4AF7-8EFA-F3631133121A}" type="presOf" srcId="{78277A09-A206-4B79-9901-874018782C91}" destId="{6FE5D44E-8E86-49E4-9818-DB0B78F22557}" srcOrd="0" destOrd="0" presId="urn:microsoft.com/office/officeart/2005/8/layout/chevron2"/>
    <dgm:cxn modelId="{9D317634-F91E-4C0F-BEC9-B15C9E985898}" type="presOf" srcId="{34B09C95-5FE2-4532-916C-23989D03FB89}" destId="{BE031E00-E29E-4738-BECA-1313BA3A534E}" srcOrd="0" destOrd="0" presId="urn:microsoft.com/office/officeart/2005/8/layout/chevron2"/>
    <dgm:cxn modelId="{7B4C8D35-F101-4AB7-844B-5E7979E5E1C1}" type="presOf" srcId="{3F789AC0-8EB5-4B88-84B7-B9BA42D49DB0}" destId="{2626C307-1CBF-4595-A8DF-C10BC5834D7C}" srcOrd="0" destOrd="0" presId="urn:microsoft.com/office/officeart/2005/8/layout/chevron2"/>
    <dgm:cxn modelId="{464FA05C-E8E6-4EE1-958E-4D7F4ED84D64}" type="presOf" srcId="{3224B9AC-0BEC-4558-B39C-5AB966D71F17}" destId="{927EF1DB-5741-493C-A6BC-323182493216}" srcOrd="0" destOrd="0" presId="urn:microsoft.com/office/officeart/2005/8/layout/chevron2"/>
    <dgm:cxn modelId="{6EE8CF67-F2E2-4AF1-B6ED-417814E80D48}" type="presOf" srcId="{976D0A3A-55BB-49C4-A22B-3677CDD7F0E2}" destId="{F24C8376-C97C-4E1D-8FD7-715A8F57FC2A}" srcOrd="0" destOrd="0" presId="urn:microsoft.com/office/officeart/2005/8/layout/chevron2"/>
    <dgm:cxn modelId="{E3EDF56D-C5BA-4AAA-A8C4-32C6D39FAAB0}" type="presOf" srcId="{76BB05CB-1433-4A21-84C7-6DD4B97A5733}" destId="{F39598BF-DF1E-4FF3-BFC3-58232C62E808}" srcOrd="0" destOrd="0" presId="urn:microsoft.com/office/officeart/2005/8/layout/chevron2"/>
    <dgm:cxn modelId="{319AB74F-FE5A-46C2-AF15-DB4F3B073D7C}" type="presOf" srcId="{4EC3F407-E8DF-42A9-BF1E-A420022926DB}" destId="{9AD83B76-4817-41CC-8ECA-1E5023005A3A}" srcOrd="0" destOrd="0" presId="urn:microsoft.com/office/officeart/2005/8/layout/chevron2"/>
    <dgm:cxn modelId="{3F35A693-03B2-4369-ADE4-DAB1C6C0D1AE}" type="presOf" srcId="{B63E8AA4-48A8-4316-AAE5-A5C2FC0E40DD}" destId="{A4F7F6DD-F011-428B-8567-C29DB8FA414A}" srcOrd="0" destOrd="0" presId="urn:microsoft.com/office/officeart/2005/8/layout/chevron2"/>
    <dgm:cxn modelId="{CDF105A0-8CDB-4B55-8EE5-A56A76BF8FE6}" srcId="{CE9B43BC-DED4-47B9-B05B-4B89B04E6E37}" destId="{78277A09-A206-4B79-9901-874018782C91}" srcOrd="1" destOrd="0" parTransId="{DD427696-DD5D-41F6-881C-4D4CBBD75D26}" sibTransId="{35BBE93D-66E3-4AB5-B59D-2C1A0519A8C5}"/>
    <dgm:cxn modelId="{5AF1F8C1-AB68-4F22-BAFE-9C1004293C7E}" srcId="{CE9B43BC-DED4-47B9-B05B-4B89B04E6E37}" destId="{28E35EAD-1BD8-40AC-987C-26D76F37120C}" srcOrd="4" destOrd="0" parTransId="{93B63077-0785-4113-9296-DD4AF0C61268}" sibTransId="{B5AAB633-9B71-4275-98A5-99BF9890D745}"/>
    <dgm:cxn modelId="{05420FC5-9F12-4F79-B701-1FB26A1C4224}" srcId="{CE9B43BC-DED4-47B9-B05B-4B89B04E6E37}" destId="{3224B9AC-0BEC-4558-B39C-5AB966D71F17}" srcOrd="0" destOrd="0" parTransId="{F18EC743-29C4-4E9A-BC83-CDA9A14CB0C8}" sibTransId="{3F3EBE27-AB1B-4471-9163-E689ADDE648B}"/>
    <dgm:cxn modelId="{4DA72DCD-4428-465B-8AA2-FCD6F7C8B457}" srcId="{FADA6794-27FA-4034-BFE3-204F633FEE91}" destId="{3F789AC0-8EB5-4B88-84B7-B9BA42D49DB0}" srcOrd="0" destOrd="0" parTransId="{4774A1CF-E246-468A-AC78-137A4E3E0378}" sibTransId="{10C22EA9-E3C6-4801-A58E-698A4BA651C8}"/>
    <dgm:cxn modelId="{87E9E5D2-2727-459A-93E6-FA29B233AACD}" srcId="{3224B9AC-0BEC-4558-B39C-5AB966D71F17}" destId="{4EC3F407-E8DF-42A9-BF1E-A420022926DB}" srcOrd="0" destOrd="0" parTransId="{9EE3538C-DF13-4643-AFA4-551F05B0D027}" sibTransId="{F7192FB0-9F7D-4193-8D3E-60D0456D994D}"/>
    <dgm:cxn modelId="{57B47FD7-6679-4AB2-B01F-4CD614B9D5B3}" srcId="{CE9B43BC-DED4-47B9-B05B-4B89B04E6E37}" destId="{FADA6794-27FA-4034-BFE3-204F633FEE91}" srcOrd="3" destOrd="0" parTransId="{AC847452-882A-4273-8083-D339D9E1DD1E}" sibTransId="{C931B197-E2E4-474C-A0FA-93604996293A}"/>
    <dgm:cxn modelId="{3244B5E3-1DD0-46A7-8036-FAB1CE198012}" srcId="{76BB05CB-1433-4A21-84C7-6DD4B97A5733}" destId="{B63E8AA4-48A8-4316-AAE5-A5C2FC0E40DD}" srcOrd="0" destOrd="0" parTransId="{41BA7570-2FCF-4AF5-9E18-2F21B506FB83}" sibTransId="{05522541-AC20-4B33-9B5C-9CE69B299814}"/>
    <dgm:cxn modelId="{156DEDFA-C579-41ED-B252-B1C49BCCAFF0}" type="presOf" srcId="{28E35EAD-1BD8-40AC-987C-26D76F37120C}" destId="{4A4793E4-9224-43DA-BADB-1DC06B0AB0F6}" srcOrd="0" destOrd="0" presId="urn:microsoft.com/office/officeart/2005/8/layout/chevron2"/>
    <dgm:cxn modelId="{FD3851E5-62AD-4A65-9B98-31CDC7B57360}" type="presParOf" srcId="{08D10DF2-E41C-4554-9490-D20DAA5BCA16}" destId="{0889A8CF-3144-480F-AC57-DDBC04A66F08}" srcOrd="0" destOrd="0" presId="urn:microsoft.com/office/officeart/2005/8/layout/chevron2"/>
    <dgm:cxn modelId="{087FDF6C-86F6-4C1F-B078-4EFEC9EB7E07}" type="presParOf" srcId="{0889A8CF-3144-480F-AC57-DDBC04A66F08}" destId="{927EF1DB-5741-493C-A6BC-323182493216}" srcOrd="0" destOrd="0" presId="urn:microsoft.com/office/officeart/2005/8/layout/chevron2"/>
    <dgm:cxn modelId="{65F6BEEF-CD9E-489D-89FB-A35F9DB130BA}" type="presParOf" srcId="{0889A8CF-3144-480F-AC57-DDBC04A66F08}" destId="{9AD83B76-4817-41CC-8ECA-1E5023005A3A}" srcOrd="1" destOrd="0" presId="urn:microsoft.com/office/officeart/2005/8/layout/chevron2"/>
    <dgm:cxn modelId="{DEAF1765-0DCA-413B-B671-DC7DE61AAC44}" type="presParOf" srcId="{08D10DF2-E41C-4554-9490-D20DAA5BCA16}" destId="{212CA65B-A4CB-4030-B0CC-6838AAC74967}" srcOrd="1" destOrd="0" presId="urn:microsoft.com/office/officeart/2005/8/layout/chevron2"/>
    <dgm:cxn modelId="{7A3638AF-99B0-4A9A-9F52-81C0469C291F}" type="presParOf" srcId="{08D10DF2-E41C-4554-9490-D20DAA5BCA16}" destId="{EFCCC388-3CED-4880-8C97-052768DB1155}" srcOrd="2" destOrd="0" presId="urn:microsoft.com/office/officeart/2005/8/layout/chevron2"/>
    <dgm:cxn modelId="{D349EE49-5F26-4740-A87E-B10B3F062C12}" type="presParOf" srcId="{EFCCC388-3CED-4880-8C97-052768DB1155}" destId="{6FE5D44E-8E86-49E4-9818-DB0B78F22557}" srcOrd="0" destOrd="0" presId="urn:microsoft.com/office/officeart/2005/8/layout/chevron2"/>
    <dgm:cxn modelId="{9B5A73C0-1952-4F3A-94B6-2DCCD7125895}" type="presParOf" srcId="{EFCCC388-3CED-4880-8C97-052768DB1155}" destId="{BE031E00-E29E-4738-BECA-1313BA3A534E}" srcOrd="1" destOrd="0" presId="urn:microsoft.com/office/officeart/2005/8/layout/chevron2"/>
    <dgm:cxn modelId="{A0B870C0-031D-4641-AA67-B1A7DCB86596}" type="presParOf" srcId="{08D10DF2-E41C-4554-9490-D20DAA5BCA16}" destId="{160BEFF8-4B70-4D72-9E1A-E1B6C09F2A3C}" srcOrd="3" destOrd="0" presId="urn:microsoft.com/office/officeart/2005/8/layout/chevron2"/>
    <dgm:cxn modelId="{54C88AEF-7973-4BE7-B511-27EBF9E20025}" type="presParOf" srcId="{08D10DF2-E41C-4554-9490-D20DAA5BCA16}" destId="{DB315CFE-FA70-406E-83B9-31AFE0E38AE0}" srcOrd="4" destOrd="0" presId="urn:microsoft.com/office/officeart/2005/8/layout/chevron2"/>
    <dgm:cxn modelId="{4E96836A-712E-4373-91B4-9D833EBA56F2}" type="presParOf" srcId="{DB315CFE-FA70-406E-83B9-31AFE0E38AE0}" destId="{F39598BF-DF1E-4FF3-BFC3-58232C62E808}" srcOrd="0" destOrd="0" presId="urn:microsoft.com/office/officeart/2005/8/layout/chevron2"/>
    <dgm:cxn modelId="{50CF91EC-9D85-401B-8AFE-BA5960634C9F}" type="presParOf" srcId="{DB315CFE-FA70-406E-83B9-31AFE0E38AE0}" destId="{A4F7F6DD-F011-428B-8567-C29DB8FA414A}" srcOrd="1" destOrd="0" presId="urn:microsoft.com/office/officeart/2005/8/layout/chevron2"/>
    <dgm:cxn modelId="{7B285E4B-9B40-4732-A824-8D39FB5A5F3F}" type="presParOf" srcId="{08D10DF2-E41C-4554-9490-D20DAA5BCA16}" destId="{42EA8D7E-219B-4274-A2A6-49D06100F8EC}" srcOrd="5" destOrd="0" presId="urn:microsoft.com/office/officeart/2005/8/layout/chevron2"/>
    <dgm:cxn modelId="{A3037FD6-B93F-48E2-9023-F718A7DA2F75}" type="presParOf" srcId="{08D10DF2-E41C-4554-9490-D20DAA5BCA16}" destId="{9CB8064A-EAD7-47B4-B1F2-1E5C76B95038}" srcOrd="6" destOrd="0" presId="urn:microsoft.com/office/officeart/2005/8/layout/chevron2"/>
    <dgm:cxn modelId="{E77932D8-D051-41C6-A3BF-B08C7753862A}" type="presParOf" srcId="{9CB8064A-EAD7-47B4-B1F2-1E5C76B95038}" destId="{56552399-F447-4D7C-B9B0-786BAB0D0631}" srcOrd="0" destOrd="0" presId="urn:microsoft.com/office/officeart/2005/8/layout/chevron2"/>
    <dgm:cxn modelId="{E73483F4-C053-407F-8A63-A2D95B4F407B}" type="presParOf" srcId="{9CB8064A-EAD7-47B4-B1F2-1E5C76B95038}" destId="{2626C307-1CBF-4595-A8DF-C10BC5834D7C}" srcOrd="1" destOrd="0" presId="urn:microsoft.com/office/officeart/2005/8/layout/chevron2"/>
    <dgm:cxn modelId="{1B562181-8AEE-475F-9793-314B951B3E8E}" type="presParOf" srcId="{08D10DF2-E41C-4554-9490-D20DAA5BCA16}" destId="{EE2B79B7-850B-4D57-82B2-46B374A27AF8}" srcOrd="7" destOrd="0" presId="urn:microsoft.com/office/officeart/2005/8/layout/chevron2"/>
    <dgm:cxn modelId="{29668EAD-97B5-4727-A148-F1C6E0547FED}" type="presParOf" srcId="{08D10DF2-E41C-4554-9490-D20DAA5BCA16}" destId="{6699385C-ED71-4B3F-BC13-2E1AF7E4EFD5}" srcOrd="8" destOrd="0" presId="urn:microsoft.com/office/officeart/2005/8/layout/chevron2"/>
    <dgm:cxn modelId="{3858E364-7A9E-4126-8BA9-E0D2E7A060A2}" type="presParOf" srcId="{6699385C-ED71-4B3F-BC13-2E1AF7E4EFD5}" destId="{4A4793E4-9224-43DA-BADB-1DC06B0AB0F6}" srcOrd="0" destOrd="0" presId="urn:microsoft.com/office/officeart/2005/8/layout/chevron2"/>
    <dgm:cxn modelId="{E41F0B34-1089-455D-ABAC-BB9B92013DEF}" type="presParOf" srcId="{6699385C-ED71-4B3F-BC13-2E1AF7E4EFD5}" destId="{F24C8376-C97C-4E1D-8FD7-715A8F57FC2A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E9B43BC-DED4-47B9-B05B-4B89B04E6E37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3224B9AC-0BEC-4558-B39C-5AB966D71F17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1</a:t>
          </a:r>
        </a:p>
      </dgm:t>
    </dgm:pt>
    <dgm:pt modelId="{F18EC743-29C4-4E9A-BC83-CDA9A14CB0C8}" type="parTrans" cxnId="{05420FC5-9F12-4F79-B701-1FB26A1C4224}">
      <dgm:prSet/>
      <dgm:spPr/>
      <dgm:t>
        <a:bodyPr/>
        <a:lstStyle/>
        <a:p>
          <a:endParaRPr lang="pt-BR"/>
        </a:p>
      </dgm:t>
    </dgm:pt>
    <dgm:pt modelId="{3F3EBE27-AB1B-4471-9163-E689ADDE648B}" type="sibTrans" cxnId="{05420FC5-9F12-4F79-B701-1FB26A1C4224}">
      <dgm:prSet/>
      <dgm:spPr/>
      <dgm:t>
        <a:bodyPr/>
        <a:lstStyle/>
        <a:p>
          <a:endParaRPr lang="pt-BR"/>
        </a:p>
      </dgm:t>
    </dgm:pt>
    <dgm:pt modelId="{4EC3F407-E8DF-42A9-BF1E-A420022926DB}">
      <dgm:prSet phldrT="[Text]"/>
      <dgm:spPr/>
      <dgm:t>
        <a:bodyPr/>
        <a:lstStyle/>
        <a:p>
          <a:r>
            <a:rPr lang="pt-BR" dirty="0"/>
            <a:t>Gerar chave privada de 2048 bits;</a:t>
          </a:r>
        </a:p>
      </dgm:t>
    </dgm:pt>
    <dgm:pt modelId="{9EE3538C-DF13-4643-AFA4-551F05B0D027}" type="parTrans" cxnId="{87E9E5D2-2727-459A-93E6-FA29B233AACD}">
      <dgm:prSet/>
      <dgm:spPr/>
      <dgm:t>
        <a:bodyPr/>
        <a:lstStyle/>
        <a:p>
          <a:endParaRPr lang="pt-BR"/>
        </a:p>
      </dgm:t>
    </dgm:pt>
    <dgm:pt modelId="{F7192FB0-9F7D-4193-8D3E-60D0456D994D}" type="sibTrans" cxnId="{87E9E5D2-2727-459A-93E6-FA29B233AACD}">
      <dgm:prSet/>
      <dgm:spPr/>
      <dgm:t>
        <a:bodyPr/>
        <a:lstStyle/>
        <a:p>
          <a:endParaRPr lang="pt-BR"/>
        </a:p>
      </dgm:t>
    </dgm:pt>
    <dgm:pt modelId="{78277A09-A206-4B79-9901-874018782C91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2</a:t>
          </a:r>
        </a:p>
      </dgm:t>
    </dgm:pt>
    <dgm:pt modelId="{DD427696-DD5D-41F6-881C-4D4CBBD75D26}" type="parTrans" cxnId="{CDF105A0-8CDB-4B55-8EE5-A56A76BF8FE6}">
      <dgm:prSet/>
      <dgm:spPr/>
      <dgm:t>
        <a:bodyPr/>
        <a:lstStyle/>
        <a:p>
          <a:endParaRPr lang="pt-BR"/>
        </a:p>
      </dgm:t>
    </dgm:pt>
    <dgm:pt modelId="{35BBE93D-66E3-4AB5-B59D-2C1A0519A8C5}" type="sibTrans" cxnId="{CDF105A0-8CDB-4B55-8EE5-A56A76BF8FE6}">
      <dgm:prSet/>
      <dgm:spPr/>
      <dgm:t>
        <a:bodyPr/>
        <a:lstStyle/>
        <a:p>
          <a:endParaRPr lang="pt-BR"/>
        </a:p>
      </dgm:t>
    </dgm:pt>
    <dgm:pt modelId="{34B09C95-5FE2-4532-916C-23989D03FB89}">
      <dgm:prSet phldrT="[Text]"/>
      <dgm:spPr/>
      <dgm:t>
        <a:bodyPr/>
        <a:lstStyle/>
        <a:p>
          <a:r>
            <a:rPr lang="pt-BR" dirty="0"/>
            <a:t>Gerar um Certificado digital com formado X509, </a:t>
          </a:r>
          <a:r>
            <a:rPr lang="pt-BR" dirty="0" err="1"/>
            <a:t>autoassinado</a:t>
          </a:r>
          <a:r>
            <a:rPr lang="pt-BR" dirty="0"/>
            <a:t> com a chave privada gerada, e tamanho até 4KB;</a:t>
          </a:r>
        </a:p>
      </dgm:t>
    </dgm:pt>
    <dgm:pt modelId="{EA359620-8047-46F0-8F67-0C36D91F145E}" type="parTrans" cxnId="{6FF3BD10-8280-4794-90C1-2433C7B102A2}">
      <dgm:prSet/>
      <dgm:spPr/>
      <dgm:t>
        <a:bodyPr/>
        <a:lstStyle/>
        <a:p>
          <a:endParaRPr lang="pt-BR"/>
        </a:p>
      </dgm:t>
    </dgm:pt>
    <dgm:pt modelId="{9FF65BCE-36C4-4F5F-A1C3-8DF8FB551C0D}" type="sibTrans" cxnId="{6FF3BD10-8280-4794-90C1-2433C7B102A2}">
      <dgm:prSet/>
      <dgm:spPr/>
      <dgm:t>
        <a:bodyPr/>
        <a:lstStyle/>
        <a:p>
          <a:endParaRPr lang="pt-BR"/>
        </a:p>
      </dgm:t>
    </dgm:pt>
    <dgm:pt modelId="{76BB05CB-1433-4A21-84C7-6DD4B97A5733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3</a:t>
          </a:r>
        </a:p>
      </dgm:t>
    </dgm:pt>
    <dgm:pt modelId="{2B355450-76F8-4F65-BEA4-017CCE3F18E1}" type="parTrans" cxnId="{223E920B-D22E-4DCD-886D-E9C0CEC431A8}">
      <dgm:prSet/>
      <dgm:spPr/>
      <dgm:t>
        <a:bodyPr/>
        <a:lstStyle/>
        <a:p>
          <a:endParaRPr lang="pt-BR"/>
        </a:p>
      </dgm:t>
    </dgm:pt>
    <dgm:pt modelId="{C42F9F4E-2E31-44FA-9A30-6FB791615C3A}" type="sibTrans" cxnId="{223E920B-D22E-4DCD-886D-E9C0CEC431A8}">
      <dgm:prSet/>
      <dgm:spPr/>
      <dgm:t>
        <a:bodyPr/>
        <a:lstStyle/>
        <a:p>
          <a:endParaRPr lang="pt-BR"/>
        </a:p>
      </dgm:t>
    </dgm:pt>
    <dgm:pt modelId="{B63E8AA4-48A8-4316-AAE5-A5C2FC0E40DD}">
      <dgm:prSet phldrT="[Text]"/>
      <dgm:spPr/>
      <dgm:t>
        <a:bodyPr/>
        <a:lstStyle/>
        <a:p>
          <a:r>
            <a:rPr lang="pt-BR" dirty="0"/>
            <a:t>Setup Salesforce: Importar Certificado,  Configurar usuário e perfil de integração, Configurações de sessão e politicas.</a:t>
          </a:r>
        </a:p>
      </dgm:t>
    </dgm:pt>
    <dgm:pt modelId="{41BA7570-2FCF-4AF5-9E18-2F21B506FB83}" type="parTrans" cxnId="{3244B5E3-1DD0-46A7-8036-FAB1CE198012}">
      <dgm:prSet/>
      <dgm:spPr/>
      <dgm:t>
        <a:bodyPr/>
        <a:lstStyle/>
        <a:p>
          <a:endParaRPr lang="pt-BR"/>
        </a:p>
      </dgm:t>
    </dgm:pt>
    <dgm:pt modelId="{05522541-AC20-4B33-9B5C-9CE69B299814}" type="sibTrans" cxnId="{3244B5E3-1DD0-46A7-8036-FAB1CE198012}">
      <dgm:prSet/>
      <dgm:spPr/>
      <dgm:t>
        <a:bodyPr/>
        <a:lstStyle/>
        <a:p>
          <a:endParaRPr lang="pt-BR"/>
        </a:p>
      </dgm:t>
    </dgm:pt>
    <dgm:pt modelId="{FADA6794-27FA-4034-BFE3-204F633FEE91}">
      <dgm:prSet phldrT="[Text]"/>
      <dgm:spPr/>
      <dgm:t>
        <a:bodyPr/>
        <a:lstStyle/>
        <a:p>
          <a:r>
            <a:rPr lang="pt-BR" dirty="0"/>
            <a:t>4</a:t>
          </a:r>
        </a:p>
      </dgm:t>
    </dgm:pt>
    <dgm:pt modelId="{AC847452-882A-4273-8083-D339D9E1DD1E}" type="parTrans" cxnId="{57B47FD7-6679-4AB2-B01F-4CD614B9D5B3}">
      <dgm:prSet/>
      <dgm:spPr/>
      <dgm:t>
        <a:bodyPr/>
        <a:lstStyle/>
        <a:p>
          <a:endParaRPr lang="pt-BR"/>
        </a:p>
      </dgm:t>
    </dgm:pt>
    <dgm:pt modelId="{C931B197-E2E4-474C-A0FA-93604996293A}" type="sibTrans" cxnId="{57B47FD7-6679-4AB2-B01F-4CD614B9D5B3}">
      <dgm:prSet/>
      <dgm:spPr/>
      <dgm:t>
        <a:bodyPr/>
        <a:lstStyle/>
        <a:p>
          <a:endParaRPr lang="pt-BR"/>
        </a:p>
      </dgm:t>
    </dgm:pt>
    <dgm:pt modelId="{3F789AC0-8EB5-4B88-84B7-B9BA42D49DB0}">
      <dgm:prSet/>
      <dgm:spPr/>
      <dgm:t>
        <a:bodyPr/>
        <a:lstStyle/>
        <a:p>
          <a:r>
            <a:rPr lang="pt-BR" dirty="0"/>
            <a:t>Gerar JWT com algoritmo de criptográfica RS256;</a:t>
          </a:r>
        </a:p>
      </dgm:t>
    </dgm:pt>
    <dgm:pt modelId="{4774A1CF-E246-468A-AC78-137A4E3E0378}" type="parTrans" cxnId="{4DA72DCD-4428-465B-8AA2-FCD6F7C8B457}">
      <dgm:prSet/>
      <dgm:spPr/>
      <dgm:t>
        <a:bodyPr/>
        <a:lstStyle/>
        <a:p>
          <a:endParaRPr lang="pt-BR"/>
        </a:p>
      </dgm:t>
    </dgm:pt>
    <dgm:pt modelId="{10C22EA9-E3C6-4801-A58E-698A4BA651C8}" type="sibTrans" cxnId="{4DA72DCD-4428-465B-8AA2-FCD6F7C8B457}">
      <dgm:prSet/>
      <dgm:spPr/>
      <dgm:t>
        <a:bodyPr/>
        <a:lstStyle/>
        <a:p>
          <a:endParaRPr lang="pt-BR"/>
        </a:p>
      </dgm:t>
    </dgm:pt>
    <dgm:pt modelId="{28E35EAD-1BD8-40AC-987C-26D76F37120C}">
      <dgm:prSet/>
      <dgm:spPr/>
      <dgm:t>
        <a:bodyPr/>
        <a:lstStyle/>
        <a:p>
          <a:r>
            <a:rPr lang="pt-BR" dirty="0"/>
            <a:t>5</a:t>
          </a:r>
        </a:p>
      </dgm:t>
    </dgm:pt>
    <dgm:pt modelId="{93B63077-0785-4113-9296-DD4AF0C61268}" type="parTrans" cxnId="{5AF1F8C1-AB68-4F22-BAFE-9C1004293C7E}">
      <dgm:prSet/>
      <dgm:spPr/>
      <dgm:t>
        <a:bodyPr/>
        <a:lstStyle/>
        <a:p>
          <a:endParaRPr lang="pt-BR"/>
        </a:p>
      </dgm:t>
    </dgm:pt>
    <dgm:pt modelId="{B5AAB633-9B71-4275-98A5-99BF9890D745}" type="sibTrans" cxnId="{5AF1F8C1-AB68-4F22-BAFE-9C1004293C7E}">
      <dgm:prSet/>
      <dgm:spPr/>
      <dgm:t>
        <a:bodyPr/>
        <a:lstStyle/>
        <a:p>
          <a:endParaRPr lang="pt-BR"/>
        </a:p>
      </dgm:t>
    </dgm:pt>
    <dgm:pt modelId="{976D0A3A-55BB-49C4-A22B-3677CDD7F0E2}">
      <dgm:prSet/>
      <dgm:spPr/>
      <dgm:t>
        <a:bodyPr/>
        <a:lstStyle/>
        <a:p>
          <a:r>
            <a:rPr lang="pt-BR" dirty="0"/>
            <a:t>Envio de requisição (Grant </a:t>
          </a:r>
          <a:r>
            <a:rPr lang="pt-BR" dirty="0" err="1"/>
            <a:t>type</a:t>
          </a:r>
          <a:r>
            <a:rPr lang="pt-BR" dirty="0"/>
            <a:t> + JWT)</a:t>
          </a:r>
        </a:p>
      </dgm:t>
    </dgm:pt>
    <dgm:pt modelId="{C60A9B6C-4DA1-4FA5-A48D-B29A6EED674A}" type="parTrans" cxnId="{3D234702-AAB2-4217-AE43-E265929B73C9}">
      <dgm:prSet/>
      <dgm:spPr/>
      <dgm:t>
        <a:bodyPr/>
        <a:lstStyle/>
        <a:p>
          <a:endParaRPr lang="pt-BR"/>
        </a:p>
      </dgm:t>
    </dgm:pt>
    <dgm:pt modelId="{C1C79B77-8CCE-4505-98BA-0F64CA4C0CFB}" type="sibTrans" cxnId="{3D234702-AAB2-4217-AE43-E265929B73C9}">
      <dgm:prSet/>
      <dgm:spPr/>
      <dgm:t>
        <a:bodyPr/>
        <a:lstStyle/>
        <a:p>
          <a:endParaRPr lang="pt-BR"/>
        </a:p>
      </dgm:t>
    </dgm:pt>
    <dgm:pt modelId="{08D10DF2-E41C-4554-9490-D20DAA5BCA16}" type="pres">
      <dgm:prSet presAssocID="{CE9B43BC-DED4-47B9-B05B-4B89B04E6E37}" presName="linearFlow" presStyleCnt="0">
        <dgm:presLayoutVars>
          <dgm:dir/>
          <dgm:animLvl val="lvl"/>
          <dgm:resizeHandles val="exact"/>
        </dgm:presLayoutVars>
      </dgm:prSet>
      <dgm:spPr/>
    </dgm:pt>
    <dgm:pt modelId="{0889A8CF-3144-480F-AC57-DDBC04A66F08}" type="pres">
      <dgm:prSet presAssocID="{3224B9AC-0BEC-4558-B39C-5AB966D71F17}" presName="composite" presStyleCnt="0"/>
      <dgm:spPr/>
    </dgm:pt>
    <dgm:pt modelId="{927EF1DB-5741-493C-A6BC-323182493216}" type="pres">
      <dgm:prSet presAssocID="{3224B9AC-0BEC-4558-B39C-5AB966D71F17}" presName="parentText" presStyleLbl="alignNode1" presStyleIdx="0" presStyleCnt="5">
        <dgm:presLayoutVars>
          <dgm:chMax val="1"/>
          <dgm:bulletEnabled val="1"/>
        </dgm:presLayoutVars>
      </dgm:prSet>
      <dgm:spPr/>
    </dgm:pt>
    <dgm:pt modelId="{9AD83B76-4817-41CC-8ECA-1E5023005A3A}" type="pres">
      <dgm:prSet presAssocID="{3224B9AC-0BEC-4558-B39C-5AB966D71F17}" presName="descendantText" presStyleLbl="alignAcc1" presStyleIdx="0" presStyleCnt="5">
        <dgm:presLayoutVars>
          <dgm:bulletEnabled val="1"/>
        </dgm:presLayoutVars>
      </dgm:prSet>
      <dgm:spPr/>
    </dgm:pt>
    <dgm:pt modelId="{212CA65B-A4CB-4030-B0CC-6838AAC74967}" type="pres">
      <dgm:prSet presAssocID="{3F3EBE27-AB1B-4471-9163-E689ADDE648B}" presName="sp" presStyleCnt="0"/>
      <dgm:spPr/>
    </dgm:pt>
    <dgm:pt modelId="{EFCCC388-3CED-4880-8C97-052768DB1155}" type="pres">
      <dgm:prSet presAssocID="{78277A09-A206-4B79-9901-874018782C91}" presName="composite" presStyleCnt="0"/>
      <dgm:spPr/>
    </dgm:pt>
    <dgm:pt modelId="{6FE5D44E-8E86-49E4-9818-DB0B78F22557}" type="pres">
      <dgm:prSet presAssocID="{78277A09-A206-4B79-9901-874018782C91}" presName="parentText" presStyleLbl="alignNode1" presStyleIdx="1" presStyleCnt="5">
        <dgm:presLayoutVars>
          <dgm:chMax val="1"/>
          <dgm:bulletEnabled val="1"/>
        </dgm:presLayoutVars>
      </dgm:prSet>
      <dgm:spPr/>
    </dgm:pt>
    <dgm:pt modelId="{BE031E00-E29E-4738-BECA-1313BA3A534E}" type="pres">
      <dgm:prSet presAssocID="{78277A09-A206-4B79-9901-874018782C91}" presName="descendantText" presStyleLbl="alignAcc1" presStyleIdx="1" presStyleCnt="5">
        <dgm:presLayoutVars>
          <dgm:bulletEnabled val="1"/>
        </dgm:presLayoutVars>
      </dgm:prSet>
      <dgm:spPr/>
    </dgm:pt>
    <dgm:pt modelId="{160BEFF8-4B70-4D72-9E1A-E1B6C09F2A3C}" type="pres">
      <dgm:prSet presAssocID="{35BBE93D-66E3-4AB5-B59D-2C1A0519A8C5}" presName="sp" presStyleCnt="0"/>
      <dgm:spPr/>
    </dgm:pt>
    <dgm:pt modelId="{DB315CFE-FA70-406E-83B9-31AFE0E38AE0}" type="pres">
      <dgm:prSet presAssocID="{76BB05CB-1433-4A21-84C7-6DD4B97A5733}" presName="composite" presStyleCnt="0"/>
      <dgm:spPr/>
    </dgm:pt>
    <dgm:pt modelId="{F39598BF-DF1E-4FF3-BFC3-58232C62E808}" type="pres">
      <dgm:prSet presAssocID="{76BB05CB-1433-4A21-84C7-6DD4B97A5733}" presName="parentText" presStyleLbl="alignNode1" presStyleIdx="2" presStyleCnt="5">
        <dgm:presLayoutVars>
          <dgm:chMax val="1"/>
          <dgm:bulletEnabled val="1"/>
        </dgm:presLayoutVars>
      </dgm:prSet>
      <dgm:spPr/>
    </dgm:pt>
    <dgm:pt modelId="{A4F7F6DD-F011-428B-8567-C29DB8FA414A}" type="pres">
      <dgm:prSet presAssocID="{76BB05CB-1433-4A21-84C7-6DD4B97A5733}" presName="descendantText" presStyleLbl="alignAcc1" presStyleIdx="2" presStyleCnt="5">
        <dgm:presLayoutVars>
          <dgm:bulletEnabled val="1"/>
        </dgm:presLayoutVars>
      </dgm:prSet>
      <dgm:spPr/>
    </dgm:pt>
    <dgm:pt modelId="{42EA8D7E-219B-4274-A2A6-49D06100F8EC}" type="pres">
      <dgm:prSet presAssocID="{C42F9F4E-2E31-44FA-9A30-6FB791615C3A}" presName="sp" presStyleCnt="0"/>
      <dgm:spPr/>
    </dgm:pt>
    <dgm:pt modelId="{9CB8064A-EAD7-47B4-B1F2-1E5C76B95038}" type="pres">
      <dgm:prSet presAssocID="{FADA6794-27FA-4034-BFE3-204F633FEE91}" presName="composite" presStyleCnt="0"/>
      <dgm:spPr/>
    </dgm:pt>
    <dgm:pt modelId="{56552399-F447-4D7C-B9B0-786BAB0D0631}" type="pres">
      <dgm:prSet presAssocID="{FADA6794-27FA-4034-BFE3-204F633FEE91}" presName="parentText" presStyleLbl="alignNode1" presStyleIdx="3" presStyleCnt="5">
        <dgm:presLayoutVars>
          <dgm:chMax val="1"/>
          <dgm:bulletEnabled val="1"/>
        </dgm:presLayoutVars>
      </dgm:prSet>
      <dgm:spPr/>
    </dgm:pt>
    <dgm:pt modelId="{2626C307-1CBF-4595-A8DF-C10BC5834D7C}" type="pres">
      <dgm:prSet presAssocID="{FADA6794-27FA-4034-BFE3-204F633FEE91}" presName="descendantText" presStyleLbl="alignAcc1" presStyleIdx="3" presStyleCnt="5">
        <dgm:presLayoutVars>
          <dgm:bulletEnabled val="1"/>
        </dgm:presLayoutVars>
      </dgm:prSet>
      <dgm:spPr/>
    </dgm:pt>
    <dgm:pt modelId="{EE2B79B7-850B-4D57-82B2-46B374A27AF8}" type="pres">
      <dgm:prSet presAssocID="{C931B197-E2E4-474C-A0FA-93604996293A}" presName="sp" presStyleCnt="0"/>
      <dgm:spPr/>
    </dgm:pt>
    <dgm:pt modelId="{6699385C-ED71-4B3F-BC13-2E1AF7E4EFD5}" type="pres">
      <dgm:prSet presAssocID="{28E35EAD-1BD8-40AC-987C-26D76F37120C}" presName="composite" presStyleCnt="0"/>
      <dgm:spPr/>
    </dgm:pt>
    <dgm:pt modelId="{4A4793E4-9224-43DA-BADB-1DC06B0AB0F6}" type="pres">
      <dgm:prSet presAssocID="{28E35EAD-1BD8-40AC-987C-26D76F37120C}" presName="parentText" presStyleLbl="alignNode1" presStyleIdx="4" presStyleCnt="5">
        <dgm:presLayoutVars>
          <dgm:chMax val="1"/>
          <dgm:bulletEnabled val="1"/>
        </dgm:presLayoutVars>
      </dgm:prSet>
      <dgm:spPr/>
    </dgm:pt>
    <dgm:pt modelId="{F24C8376-C97C-4E1D-8FD7-715A8F57FC2A}" type="pres">
      <dgm:prSet presAssocID="{28E35EAD-1BD8-40AC-987C-26D76F37120C}" presName="descendantText" presStyleLbl="alignAcc1" presStyleIdx="4" presStyleCnt="5">
        <dgm:presLayoutVars>
          <dgm:bulletEnabled val="1"/>
        </dgm:presLayoutVars>
      </dgm:prSet>
      <dgm:spPr/>
    </dgm:pt>
  </dgm:ptLst>
  <dgm:cxnLst>
    <dgm:cxn modelId="{3D234702-AAB2-4217-AE43-E265929B73C9}" srcId="{28E35EAD-1BD8-40AC-987C-26D76F37120C}" destId="{976D0A3A-55BB-49C4-A22B-3677CDD7F0E2}" srcOrd="0" destOrd="0" parTransId="{C60A9B6C-4DA1-4FA5-A48D-B29A6EED674A}" sibTransId="{C1C79B77-8CCE-4505-98BA-0F64CA4C0CFB}"/>
    <dgm:cxn modelId="{223E920B-D22E-4DCD-886D-E9C0CEC431A8}" srcId="{CE9B43BC-DED4-47B9-B05B-4B89B04E6E37}" destId="{76BB05CB-1433-4A21-84C7-6DD4B97A5733}" srcOrd="2" destOrd="0" parTransId="{2B355450-76F8-4F65-BEA4-017CCE3F18E1}" sibTransId="{C42F9F4E-2E31-44FA-9A30-6FB791615C3A}"/>
    <dgm:cxn modelId="{ACFF3A0C-68DF-418B-8F61-81E91D025885}" type="presOf" srcId="{FADA6794-27FA-4034-BFE3-204F633FEE91}" destId="{56552399-F447-4D7C-B9B0-786BAB0D0631}" srcOrd="0" destOrd="0" presId="urn:microsoft.com/office/officeart/2005/8/layout/chevron2"/>
    <dgm:cxn modelId="{6FF3BD10-8280-4794-90C1-2433C7B102A2}" srcId="{78277A09-A206-4B79-9901-874018782C91}" destId="{34B09C95-5FE2-4532-916C-23989D03FB89}" srcOrd="0" destOrd="0" parTransId="{EA359620-8047-46F0-8F67-0C36D91F145E}" sibTransId="{9FF65BCE-36C4-4F5F-A1C3-8DF8FB551C0D}"/>
    <dgm:cxn modelId="{178C1819-464D-40B1-9509-4D4C86EC5323}" type="presOf" srcId="{CE9B43BC-DED4-47B9-B05B-4B89B04E6E37}" destId="{08D10DF2-E41C-4554-9490-D20DAA5BCA16}" srcOrd="0" destOrd="0" presId="urn:microsoft.com/office/officeart/2005/8/layout/chevron2"/>
    <dgm:cxn modelId="{CB8DD625-08F0-4AF7-8EFA-F3631133121A}" type="presOf" srcId="{78277A09-A206-4B79-9901-874018782C91}" destId="{6FE5D44E-8E86-49E4-9818-DB0B78F22557}" srcOrd="0" destOrd="0" presId="urn:microsoft.com/office/officeart/2005/8/layout/chevron2"/>
    <dgm:cxn modelId="{9D317634-F91E-4C0F-BEC9-B15C9E985898}" type="presOf" srcId="{34B09C95-5FE2-4532-916C-23989D03FB89}" destId="{BE031E00-E29E-4738-BECA-1313BA3A534E}" srcOrd="0" destOrd="0" presId="urn:microsoft.com/office/officeart/2005/8/layout/chevron2"/>
    <dgm:cxn modelId="{7B4C8D35-F101-4AB7-844B-5E7979E5E1C1}" type="presOf" srcId="{3F789AC0-8EB5-4B88-84B7-B9BA42D49DB0}" destId="{2626C307-1CBF-4595-A8DF-C10BC5834D7C}" srcOrd="0" destOrd="0" presId="urn:microsoft.com/office/officeart/2005/8/layout/chevron2"/>
    <dgm:cxn modelId="{464FA05C-E8E6-4EE1-958E-4D7F4ED84D64}" type="presOf" srcId="{3224B9AC-0BEC-4558-B39C-5AB966D71F17}" destId="{927EF1DB-5741-493C-A6BC-323182493216}" srcOrd="0" destOrd="0" presId="urn:microsoft.com/office/officeart/2005/8/layout/chevron2"/>
    <dgm:cxn modelId="{6EE8CF67-F2E2-4AF1-B6ED-417814E80D48}" type="presOf" srcId="{976D0A3A-55BB-49C4-A22B-3677CDD7F0E2}" destId="{F24C8376-C97C-4E1D-8FD7-715A8F57FC2A}" srcOrd="0" destOrd="0" presId="urn:microsoft.com/office/officeart/2005/8/layout/chevron2"/>
    <dgm:cxn modelId="{E3EDF56D-C5BA-4AAA-A8C4-32C6D39FAAB0}" type="presOf" srcId="{76BB05CB-1433-4A21-84C7-6DD4B97A5733}" destId="{F39598BF-DF1E-4FF3-BFC3-58232C62E808}" srcOrd="0" destOrd="0" presId="urn:microsoft.com/office/officeart/2005/8/layout/chevron2"/>
    <dgm:cxn modelId="{319AB74F-FE5A-46C2-AF15-DB4F3B073D7C}" type="presOf" srcId="{4EC3F407-E8DF-42A9-BF1E-A420022926DB}" destId="{9AD83B76-4817-41CC-8ECA-1E5023005A3A}" srcOrd="0" destOrd="0" presId="urn:microsoft.com/office/officeart/2005/8/layout/chevron2"/>
    <dgm:cxn modelId="{3F35A693-03B2-4369-ADE4-DAB1C6C0D1AE}" type="presOf" srcId="{B63E8AA4-48A8-4316-AAE5-A5C2FC0E40DD}" destId="{A4F7F6DD-F011-428B-8567-C29DB8FA414A}" srcOrd="0" destOrd="0" presId="urn:microsoft.com/office/officeart/2005/8/layout/chevron2"/>
    <dgm:cxn modelId="{CDF105A0-8CDB-4B55-8EE5-A56A76BF8FE6}" srcId="{CE9B43BC-DED4-47B9-B05B-4B89B04E6E37}" destId="{78277A09-A206-4B79-9901-874018782C91}" srcOrd="1" destOrd="0" parTransId="{DD427696-DD5D-41F6-881C-4D4CBBD75D26}" sibTransId="{35BBE93D-66E3-4AB5-B59D-2C1A0519A8C5}"/>
    <dgm:cxn modelId="{5AF1F8C1-AB68-4F22-BAFE-9C1004293C7E}" srcId="{CE9B43BC-DED4-47B9-B05B-4B89B04E6E37}" destId="{28E35EAD-1BD8-40AC-987C-26D76F37120C}" srcOrd="4" destOrd="0" parTransId="{93B63077-0785-4113-9296-DD4AF0C61268}" sibTransId="{B5AAB633-9B71-4275-98A5-99BF9890D745}"/>
    <dgm:cxn modelId="{05420FC5-9F12-4F79-B701-1FB26A1C4224}" srcId="{CE9B43BC-DED4-47B9-B05B-4B89B04E6E37}" destId="{3224B9AC-0BEC-4558-B39C-5AB966D71F17}" srcOrd="0" destOrd="0" parTransId="{F18EC743-29C4-4E9A-BC83-CDA9A14CB0C8}" sibTransId="{3F3EBE27-AB1B-4471-9163-E689ADDE648B}"/>
    <dgm:cxn modelId="{4DA72DCD-4428-465B-8AA2-FCD6F7C8B457}" srcId="{FADA6794-27FA-4034-BFE3-204F633FEE91}" destId="{3F789AC0-8EB5-4B88-84B7-B9BA42D49DB0}" srcOrd="0" destOrd="0" parTransId="{4774A1CF-E246-468A-AC78-137A4E3E0378}" sibTransId="{10C22EA9-E3C6-4801-A58E-698A4BA651C8}"/>
    <dgm:cxn modelId="{87E9E5D2-2727-459A-93E6-FA29B233AACD}" srcId="{3224B9AC-0BEC-4558-B39C-5AB966D71F17}" destId="{4EC3F407-E8DF-42A9-BF1E-A420022926DB}" srcOrd="0" destOrd="0" parTransId="{9EE3538C-DF13-4643-AFA4-551F05B0D027}" sibTransId="{F7192FB0-9F7D-4193-8D3E-60D0456D994D}"/>
    <dgm:cxn modelId="{57B47FD7-6679-4AB2-B01F-4CD614B9D5B3}" srcId="{CE9B43BC-DED4-47B9-B05B-4B89B04E6E37}" destId="{FADA6794-27FA-4034-BFE3-204F633FEE91}" srcOrd="3" destOrd="0" parTransId="{AC847452-882A-4273-8083-D339D9E1DD1E}" sibTransId="{C931B197-E2E4-474C-A0FA-93604996293A}"/>
    <dgm:cxn modelId="{3244B5E3-1DD0-46A7-8036-FAB1CE198012}" srcId="{76BB05CB-1433-4A21-84C7-6DD4B97A5733}" destId="{B63E8AA4-48A8-4316-AAE5-A5C2FC0E40DD}" srcOrd="0" destOrd="0" parTransId="{41BA7570-2FCF-4AF5-9E18-2F21B506FB83}" sibTransId="{05522541-AC20-4B33-9B5C-9CE69B299814}"/>
    <dgm:cxn modelId="{156DEDFA-C579-41ED-B252-B1C49BCCAFF0}" type="presOf" srcId="{28E35EAD-1BD8-40AC-987C-26D76F37120C}" destId="{4A4793E4-9224-43DA-BADB-1DC06B0AB0F6}" srcOrd="0" destOrd="0" presId="urn:microsoft.com/office/officeart/2005/8/layout/chevron2"/>
    <dgm:cxn modelId="{FD3851E5-62AD-4A65-9B98-31CDC7B57360}" type="presParOf" srcId="{08D10DF2-E41C-4554-9490-D20DAA5BCA16}" destId="{0889A8CF-3144-480F-AC57-DDBC04A66F08}" srcOrd="0" destOrd="0" presId="urn:microsoft.com/office/officeart/2005/8/layout/chevron2"/>
    <dgm:cxn modelId="{087FDF6C-86F6-4C1F-B078-4EFEC9EB7E07}" type="presParOf" srcId="{0889A8CF-3144-480F-AC57-DDBC04A66F08}" destId="{927EF1DB-5741-493C-A6BC-323182493216}" srcOrd="0" destOrd="0" presId="urn:microsoft.com/office/officeart/2005/8/layout/chevron2"/>
    <dgm:cxn modelId="{65F6BEEF-CD9E-489D-89FB-A35F9DB130BA}" type="presParOf" srcId="{0889A8CF-3144-480F-AC57-DDBC04A66F08}" destId="{9AD83B76-4817-41CC-8ECA-1E5023005A3A}" srcOrd="1" destOrd="0" presId="urn:microsoft.com/office/officeart/2005/8/layout/chevron2"/>
    <dgm:cxn modelId="{DEAF1765-0DCA-413B-B671-DC7DE61AAC44}" type="presParOf" srcId="{08D10DF2-E41C-4554-9490-D20DAA5BCA16}" destId="{212CA65B-A4CB-4030-B0CC-6838AAC74967}" srcOrd="1" destOrd="0" presId="urn:microsoft.com/office/officeart/2005/8/layout/chevron2"/>
    <dgm:cxn modelId="{7A3638AF-99B0-4A9A-9F52-81C0469C291F}" type="presParOf" srcId="{08D10DF2-E41C-4554-9490-D20DAA5BCA16}" destId="{EFCCC388-3CED-4880-8C97-052768DB1155}" srcOrd="2" destOrd="0" presId="urn:microsoft.com/office/officeart/2005/8/layout/chevron2"/>
    <dgm:cxn modelId="{D349EE49-5F26-4740-A87E-B10B3F062C12}" type="presParOf" srcId="{EFCCC388-3CED-4880-8C97-052768DB1155}" destId="{6FE5D44E-8E86-49E4-9818-DB0B78F22557}" srcOrd="0" destOrd="0" presId="urn:microsoft.com/office/officeart/2005/8/layout/chevron2"/>
    <dgm:cxn modelId="{9B5A73C0-1952-4F3A-94B6-2DCCD7125895}" type="presParOf" srcId="{EFCCC388-3CED-4880-8C97-052768DB1155}" destId="{BE031E00-E29E-4738-BECA-1313BA3A534E}" srcOrd="1" destOrd="0" presId="urn:microsoft.com/office/officeart/2005/8/layout/chevron2"/>
    <dgm:cxn modelId="{A0B870C0-031D-4641-AA67-B1A7DCB86596}" type="presParOf" srcId="{08D10DF2-E41C-4554-9490-D20DAA5BCA16}" destId="{160BEFF8-4B70-4D72-9E1A-E1B6C09F2A3C}" srcOrd="3" destOrd="0" presId="urn:microsoft.com/office/officeart/2005/8/layout/chevron2"/>
    <dgm:cxn modelId="{54C88AEF-7973-4BE7-B511-27EBF9E20025}" type="presParOf" srcId="{08D10DF2-E41C-4554-9490-D20DAA5BCA16}" destId="{DB315CFE-FA70-406E-83B9-31AFE0E38AE0}" srcOrd="4" destOrd="0" presId="urn:microsoft.com/office/officeart/2005/8/layout/chevron2"/>
    <dgm:cxn modelId="{4E96836A-712E-4373-91B4-9D833EBA56F2}" type="presParOf" srcId="{DB315CFE-FA70-406E-83B9-31AFE0E38AE0}" destId="{F39598BF-DF1E-4FF3-BFC3-58232C62E808}" srcOrd="0" destOrd="0" presId="urn:microsoft.com/office/officeart/2005/8/layout/chevron2"/>
    <dgm:cxn modelId="{50CF91EC-9D85-401B-8AFE-BA5960634C9F}" type="presParOf" srcId="{DB315CFE-FA70-406E-83B9-31AFE0E38AE0}" destId="{A4F7F6DD-F011-428B-8567-C29DB8FA414A}" srcOrd="1" destOrd="0" presId="urn:microsoft.com/office/officeart/2005/8/layout/chevron2"/>
    <dgm:cxn modelId="{7B285E4B-9B40-4732-A824-8D39FB5A5F3F}" type="presParOf" srcId="{08D10DF2-E41C-4554-9490-D20DAA5BCA16}" destId="{42EA8D7E-219B-4274-A2A6-49D06100F8EC}" srcOrd="5" destOrd="0" presId="urn:microsoft.com/office/officeart/2005/8/layout/chevron2"/>
    <dgm:cxn modelId="{A3037FD6-B93F-48E2-9023-F718A7DA2F75}" type="presParOf" srcId="{08D10DF2-E41C-4554-9490-D20DAA5BCA16}" destId="{9CB8064A-EAD7-47B4-B1F2-1E5C76B95038}" srcOrd="6" destOrd="0" presId="urn:microsoft.com/office/officeart/2005/8/layout/chevron2"/>
    <dgm:cxn modelId="{E77932D8-D051-41C6-A3BF-B08C7753862A}" type="presParOf" srcId="{9CB8064A-EAD7-47B4-B1F2-1E5C76B95038}" destId="{56552399-F447-4D7C-B9B0-786BAB0D0631}" srcOrd="0" destOrd="0" presId="urn:microsoft.com/office/officeart/2005/8/layout/chevron2"/>
    <dgm:cxn modelId="{E73483F4-C053-407F-8A63-A2D95B4F407B}" type="presParOf" srcId="{9CB8064A-EAD7-47B4-B1F2-1E5C76B95038}" destId="{2626C307-1CBF-4595-A8DF-C10BC5834D7C}" srcOrd="1" destOrd="0" presId="urn:microsoft.com/office/officeart/2005/8/layout/chevron2"/>
    <dgm:cxn modelId="{1B562181-8AEE-475F-9793-314B951B3E8E}" type="presParOf" srcId="{08D10DF2-E41C-4554-9490-D20DAA5BCA16}" destId="{EE2B79B7-850B-4D57-82B2-46B374A27AF8}" srcOrd="7" destOrd="0" presId="urn:microsoft.com/office/officeart/2005/8/layout/chevron2"/>
    <dgm:cxn modelId="{29668EAD-97B5-4727-A148-F1C6E0547FED}" type="presParOf" srcId="{08D10DF2-E41C-4554-9490-D20DAA5BCA16}" destId="{6699385C-ED71-4B3F-BC13-2E1AF7E4EFD5}" srcOrd="8" destOrd="0" presId="urn:microsoft.com/office/officeart/2005/8/layout/chevron2"/>
    <dgm:cxn modelId="{3858E364-7A9E-4126-8BA9-E0D2E7A060A2}" type="presParOf" srcId="{6699385C-ED71-4B3F-BC13-2E1AF7E4EFD5}" destId="{4A4793E4-9224-43DA-BADB-1DC06B0AB0F6}" srcOrd="0" destOrd="0" presId="urn:microsoft.com/office/officeart/2005/8/layout/chevron2"/>
    <dgm:cxn modelId="{E41F0B34-1089-455D-ABAC-BB9B92013DEF}" type="presParOf" srcId="{6699385C-ED71-4B3F-BC13-2E1AF7E4EFD5}" destId="{F24C8376-C97C-4E1D-8FD7-715A8F57FC2A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E9B43BC-DED4-47B9-B05B-4B89B04E6E37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3224B9AC-0BEC-4558-B39C-5AB966D71F17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1</a:t>
          </a:r>
        </a:p>
      </dgm:t>
    </dgm:pt>
    <dgm:pt modelId="{F18EC743-29C4-4E9A-BC83-CDA9A14CB0C8}" type="parTrans" cxnId="{05420FC5-9F12-4F79-B701-1FB26A1C4224}">
      <dgm:prSet/>
      <dgm:spPr/>
      <dgm:t>
        <a:bodyPr/>
        <a:lstStyle/>
        <a:p>
          <a:endParaRPr lang="pt-BR"/>
        </a:p>
      </dgm:t>
    </dgm:pt>
    <dgm:pt modelId="{3F3EBE27-AB1B-4471-9163-E689ADDE648B}" type="sibTrans" cxnId="{05420FC5-9F12-4F79-B701-1FB26A1C4224}">
      <dgm:prSet/>
      <dgm:spPr/>
      <dgm:t>
        <a:bodyPr/>
        <a:lstStyle/>
        <a:p>
          <a:endParaRPr lang="pt-BR"/>
        </a:p>
      </dgm:t>
    </dgm:pt>
    <dgm:pt modelId="{4EC3F407-E8DF-42A9-BF1E-A420022926DB}">
      <dgm:prSet phldrT="[Text]"/>
      <dgm:spPr/>
      <dgm:t>
        <a:bodyPr/>
        <a:lstStyle/>
        <a:p>
          <a:r>
            <a:rPr lang="pt-BR" dirty="0"/>
            <a:t>Gerar chave privada de 2048 bits;</a:t>
          </a:r>
        </a:p>
      </dgm:t>
    </dgm:pt>
    <dgm:pt modelId="{9EE3538C-DF13-4643-AFA4-551F05B0D027}" type="parTrans" cxnId="{87E9E5D2-2727-459A-93E6-FA29B233AACD}">
      <dgm:prSet/>
      <dgm:spPr/>
      <dgm:t>
        <a:bodyPr/>
        <a:lstStyle/>
        <a:p>
          <a:endParaRPr lang="pt-BR"/>
        </a:p>
      </dgm:t>
    </dgm:pt>
    <dgm:pt modelId="{F7192FB0-9F7D-4193-8D3E-60D0456D994D}" type="sibTrans" cxnId="{87E9E5D2-2727-459A-93E6-FA29B233AACD}">
      <dgm:prSet/>
      <dgm:spPr/>
      <dgm:t>
        <a:bodyPr/>
        <a:lstStyle/>
        <a:p>
          <a:endParaRPr lang="pt-BR"/>
        </a:p>
      </dgm:t>
    </dgm:pt>
    <dgm:pt modelId="{78277A09-A206-4B79-9901-874018782C91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2</a:t>
          </a:r>
        </a:p>
      </dgm:t>
    </dgm:pt>
    <dgm:pt modelId="{DD427696-DD5D-41F6-881C-4D4CBBD75D26}" type="parTrans" cxnId="{CDF105A0-8CDB-4B55-8EE5-A56A76BF8FE6}">
      <dgm:prSet/>
      <dgm:spPr/>
      <dgm:t>
        <a:bodyPr/>
        <a:lstStyle/>
        <a:p>
          <a:endParaRPr lang="pt-BR"/>
        </a:p>
      </dgm:t>
    </dgm:pt>
    <dgm:pt modelId="{35BBE93D-66E3-4AB5-B59D-2C1A0519A8C5}" type="sibTrans" cxnId="{CDF105A0-8CDB-4B55-8EE5-A56A76BF8FE6}">
      <dgm:prSet/>
      <dgm:spPr/>
      <dgm:t>
        <a:bodyPr/>
        <a:lstStyle/>
        <a:p>
          <a:endParaRPr lang="pt-BR"/>
        </a:p>
      </dgm:t>
    </dgm:pt>
    <dgm:pt modelId="{34B09C95-5FE2-4532-916C-23989D03FB89}">
      <dgm:prSet phldrT="[Text]"/>
      <dgm:spPr/>
      <dgm:t>
        <a:bodyPr/>
        <a:lstStyle/>
        <a:p>
          <a:r>
            <a:rPr lang="pt-BR" dirty="0"/>
            <a:t>Gerar um Certificado digital com formado X509, </a:t>
          </a:r>
          <a:r>
            <a:rPr lang="pt-BR" dirty="0" err="1"/>
            <a:t>autoassinado</a:t>
          </a:r>
          <a:r>
            <a:rPr lang="pt-BR" dirty="0"/>
            <a:t> com a chave privada gerada, e tamanho até 4KB;</a:t>
          </a:r>
        </a:p>
      </dgm:t>
    </dgm:pt>
    <dgm:pt modelId="{EA359620-8047-46F0-8F67-0C36D91F145E}" type="parTrans" cxnId="{6FF3BD10-8280-4794-90C1-2433C7B102A2}">
      <dgm:prSet/>
      <dgm:spPr/>
      <dgm:t>
        <a:bodyPr/>
        <a:lstStyle/>
        <a:p>
          <a:endParaRPr lang="pt-BR"/>
        </a:p>
      </dgm:t>
    </dgm:pt>
    <dgm:pt modelId="{9FF65BCE-36C4-4F5F-A1C3-8DF8FB551C0D}" type="sibTrans" cxnId="{6FF3BD10-8280-4794-90C1-2433C7B102A2}">
      <dgm:prSet/>
      <dgm:spPr/>
      <dgm:t>
        <a:bodyPr/>
        <a:lstStyle/>
        <a:p>
          <a:endParaRPr lang="pt-BR"/>
        </a:p>
      </dgm:t>
    </dgm:pt>
    <dgm:pt modelId="{76BB05CB-1433-4A21-84C7-6DD4B97A5733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3</a:t>
          </a:r>
        </a:p>
      </dgm:t>
    </dgm:pt>
    <dgm:pt modelId="{2B355450-76F8-4F65-BEA4-017CCE3F18E1}" type="parTrans" cxnId="{223E920B-D22E-4DCD-886D-E9C0CEC431A8}">
      <dgm:prSet/>
      <dgm:spPr/>
      <dgm:t>
        <a:bodyPr/>
        <a:lstStyle/>
        <a:p>
          <a:endParaRPr lang="pt-BR"/>
        </a:p>
      </dgm:t>
    </dgm:pt>
    <dgm:pt modelId="{C42F9F4E-2E31-44FA-9A30-6FB791615C3A}" type="sibTrans" cxnId="{223E920B-D22E-4DCD-886D-E9C0CEC431A8}">
      <dgm:prSet/>
      <dgm:spPr/>
      <dgm:t>
        <a:bodyPr/>
        <a:lstStyle/>
        <a:p>
          <a:endParaRPr lang="pt-BR"/>
        </a:p>
      </dgm:t>
    </dgm:pt>
    <dgm:pt modelId="{B63E8AA4-48A8-4316-AAE5-A5C2FC0E40DD}">
      <dgm:prSet phldrT="[Text]"/>
      <dgm:spPr/>
      <dgm:t>
        <a:bodyPr/>
        <a:lstStyle/>
        <a:p>
          <a:r>
            <a:rPr lang="pt-BR" dirty="0"/>
            <a:t>Setup Salesforce: Importar Certificado,  Configurar usuário e perfil de integração, Configurações de sessão e politicas.</a:t>
          </a:r>
        </a:p>
      </dgm:t>
    </dgm:pt>
    <dgm:pt modelId="{41BA7570-2FCF-4AF5-9E18-2F21B506FB83}" type="parTrans" cxnId="{3244B5E3-1DD0-46A7-8036-FAB1CE198012}">
      <dgm:prSet/>
      <dgm:spPr/>
      <dgm:t>
        <a:bodyPr/>
        <a:lstStyle/>
        <a:p>
          <a:endParaRPr lang="pt-BR"/>
        </a:p>
      </dgm:t>
    </dgm:pt>
    <dgm:pt modelId="{05522541-AC20-4B33-9B5C-9CE69B299814}" type="sibTrans" cxnId="{3244B5E3-1DD0-46A7-8036-FAB1CE198012}">
      <dgm:prSet/>
      <dgm:spPr/>
      <dgm:t>
        <a:bodyPr/>
        <a:lstStyle/>
        <a:p>
          <a:endParaRPr lang="pt-BR"/>
        </a:p>
      </dgm:t>
    </dgm:pt>
    <dgm:pt modelId="{FADA6794-27FA-4034-BFE3-204F633FEE91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4</a:t>
          </a:r>
        </a:p>
      </dgm:t>
    </dgm:pt>
    <dgm:pt modelId="{AC847452-882A-4273-8083-D339D9E1DD1E}" type="parTrans" cxnId="{57B47FD7-6679-4AB2-B01F-4CD614B9D5B3}">
      <dgm:prSet/>
      <dgm:spPr/>
      <dgm:t>
        <a:bodyPr/>
        <a:lstStyle/>
        <a:p>
          <a:endParaRPr lang="pt-BR"/>
        </a:p>
      </dgm:t>
    </dgm:pt>
    <dgm:pt modelId="{C931B197-E2E4-474C-A0FA-93604996293A}" type="sibTrans" cxnId="{57B47FD7-6679-4AB2-B01F-4CD614B9D5B3}">
      <dgm:prSet/>
      <dgm:spPr/>
      <dgm:t>
        <a:bodyPr/>
        <a:lstStyle/>
        <a:p>
          <a:endParaRPr lang="pt-BR"/>
        </a:p>
      </dgm:t>
    </dgm:pt>
    <dgm:pt modelId="{3F789AC0-8EB5-4B88-84B7-B9BA42D49DB0}">
      <dgm:prSet/>
      <dgm:spPr/>
      <dgm:t>
        <a:bodyPr/>
        <a:lstStyle/>
        <a:p>
          <a:r>
            <a:rPr lang="pt-BR" dirty="0"/>
            <a:t>Gerar JWT com algoritmo de criptográfica RS256;</a:t>
          </a:r>
        </a:p>
      </dgm:t>
    </dgm:pt>
    <dgm:pt modelId="{4774A1CF-E246-468A-AC78-137A4E3E0378}" type="parTrans" cxnId="{4DA72DCD-4428-465B-8AA2-FCD6F7C8B457}">
      <dgm:prSet/>
      <dgm:spPr/>
      <dgm:t>
        <a:bodyPr/>
        <a:lstStyle/>
        <a:p>
          <a:endParaRPr lang="pt-BR"/>
        </a:p>
      </dgm:t>
    </dgm:pt>
    <dgm:pt modelId="{10C22EA9-E3C6-4801-A58E-698A4BA651C8}" type="sibTrans" cxnId="{4DA72DCD-4428-465B-8AA2-FCD6F7C8B457}">
      <dgm:prSet/>
      <dgm:spPr/>
      <dgm:t>
        <a:bodyPr/>
        <a:lstStyle/>
        <a:p>
          <a:endParaRPr lang="pt-BR"/>
        </a:p>
      </dgm:t>
    </dgm:pt>
    <dgm:pt modelId="{28E35EAD-1BD8-40AC-987C-26D76F37120C}">
      <dgm:prSet/>
      <dgm:spPr/>
      <dgm:t>
        <a:bodyPr/>
        <a:lstStyle/>
        <a:p>
          <a:r>
            <a:rPr lang="pt-BR" dirty="0"/>
            <a:t>5</a:t>
          </a:r>
        </a:p>
      </dgm:t>
    </dgm:pt>
    <dgm:pt modelId="{93B63077-0785-4113-9296-DD4AF0C61268}" type="parTrans" cxnId="{5AF1F8C1-AB68-4F22-BAFE-9C1004293C7E}">
      <dgm:prSet/>
      <dgm:spPr/>
      <dgm:t>
        <a:bodyPr/>
        <a:lstStyle/>
        <a:p>
          <a:endParaRPr lang="pt-BR"/>
        </a:p>
      </dgm:t>
    </dgm:pt>
    <dgm:pt modelId="{B5AAB633-9B71-4275-98A5-99BF9890D745}" type="sibTrans" cxnId="{5AF1F8C1-AB68-4F22-BAFE-9C1004293C7E}">
      <dgm:prSet/>
      <dgm:spPr/>
      <dgm:t>
        <a:bodyPr/>
        <a:lstStyle/>
        <a:p>
          <a:endParaRPr lang="pt-BR"/>
        </a:p>
      </dgm:t>
    </dgm:pt>
    <dgm:pt modelId="{976D0A3A-55BB-49C4-A22B-3677CDD7F0E2}">
      <dgm:prSet/>
      <dgm:spPr/>
      <dgm:t>
        <a:bodyPr/>
        <a:lstStyle/>
        <a:p>
          <a:r>
            <a:rPr lang="pt-BR" dirty="0"/>
            <a:t>Envio de requisição (Grant </a:t>
          </a:r>
          <a:r>
            <a:rPr lang="pt-BR" dirty="0" err="1"/>
            <a:t>type</a:t>
          </a:r>
          <a:r>
            <a:rPr lang="pt-BR" dirty="0"/>
            <a:t> + JWT)</a:t>
          </a:r>
        </a:p>
      </dgm:t>
    </dgm:pt>
    <dgm:pt modelId="{C60A9B6C-4DA1-4FA5-A48D-B29A6EED674A}" type="parTrans" cxnId="{3D234702-AAB2-4217-AE43-E265929B73C9}">
      <dgm:prSet/>
      <dgm:spPr/>
      <dgm:t>
        <a:bodyPr/>
        <a:lstStyle/>
        <a:p>
          <a:endParaRPr lang="pt-BR"/>
        </a:p>
      </dgm:t>
    </dgm:pt>
    <dgm:pt modelId="{C1C79B77-8CCE-4505-98BA-0F64CA4C0CFB}" type="sibTrans" cxnId="{3D234702-AAB2-4217-AE43-E265929B73C9}">
      <dgm:prSet/>
      <dgm:spPr/>
      <dgm:t>
        <a:bodyPr/>
        <a:lstStyle/>
        <a:p>
          <a:endParaRPr lang="pt-BR"/>
        </a:p>
      </dgm:t>
    </dgm:pt>
    <dgm:pt modelId="{08D10DF2-E41C-4554-9490-D20DAA5BCA16}" type="pres">
      <dgm:prSet presAssocID="{CE9B43BC-DED4-47B9-B05B-4B89B04E6E37}" presName="linearFlow" presStyleCnt="0">
        <dgm:presLayoutVars>
          <dgm:dir/>
          <dgm:animLvl val="lvl"/>
          <dgm:resizeHandles val="exact"/>
        </dgm:presLayoutVars>
      </dgm:prSet>
      <dgm:spPr/>
    </dgm:pt>
    <dgm:pt modelId="{0889A8CF-3144-480F-AC57-DDBC04A66F08}" type="pres">
      <dgm:prSet presAssocID="{3224B9AC-0BEC-4558-B39C-5AB966D71F17}" presName="composite" presStyleCnt="0"/>
      <dgm:spPr/>
    </dgm:pt>
    <dgm:pt modelId="{927EF1DB-5741-493C-A6BC-323182493216}" type="pres">
      <dgm:prSet presAssocID="{3224B9AC-0BEC-4558-B39C-5AB966D71F17}" presName="parentText" presStyleLbl="alignNode1" presStyleIdx="0" presStyleCnt="5">
        <dgm:presLayoutVars>
          <dgm:chMax val="1"/>
          <dgm:bulletEnabled val="1"/>
        </dgm:presLayoutVars>
      </dgm:prSet>
      <dgm:spPr/>
    </dgm:pt>
    <dgm:pt modelId="{9AD83B76-4817-41CC-8ECA-1E5023005A3A}" type="pres">
      <dgm:prSet presAssocID="{3224B9AC-0BEC-4558-B39C-5AB966D71F17}" presName="descendantText" presStyleLbl="alignAcc1" presStyleIdx="0" presStyleCnt="5">
        <dgm:presLayoutVars>
          <dgm:bulletEnabled val="1"/>
        </dgm:presLayoutVars>
      </dgm:prSet>
      <dgm:spPr/>
    </dgm:pt>
    <dgm:pt modelId="{212CA65B-A4CB-4030-B0CC-6838AAC74967}" type="pres">
      <dgm:prSet presAssocID="{3F3EBE27-AB1B-4471-9163-E689ADDE648B}" presName="sp" presStyleCnt="0"/>
      <dgm:spPr/>
    </dgm:pt>
    <dgm:pt modelId="{EFCCC388-3CED-4880-8C97-052768DB1155}" type="pres">
      <dgm:prSet presAssocID="{78277A09-A206-4B79-9901-874018782C91}" presName="composite" presStyleCnt="0"/>
      <dgm:spPr/>
    </dgm:pt>
    <dgm:pt modelId="{6FE5D44E-8E86-49E4-9818-DB0B78F22557}" type="pres">
      <dgm:prSet presAssocID="{78277A09-A206-4B79-9901-874018782C91}" presName="parentText" presStyleLbl="alignNode1" presStyleIdx="1" presStyleCnt="5">
        <dgm:presLayoutVars>
          <dgm:chMax val="1"/>
          <dgm:bulletEnabled val="1"/>
        </dgm:presLayoutVars>
      </dgm:prSet>
      <dgm:spPr/>
    </dgm:pt>
    <dgm:pt modelId="{BE031E00-E29E-4738-BECA-1313BA3A534E}" type="pres">
      <dgm:prSet presAssocID="{78277A09-A206-4B79-9901-874018782C91}" presName="descendantText" presStyleLbl="alignAcc1" presStyleIdx="1" presStyleCnt="5">
        <dgm:presLayoutVars>
          <dgm:bulletEnabled val="1"/>
        </dgm:presLayoutVars>
      </dgm:prSet>
      <dgm:spPr/>
    </dgm:pt>
    <dgm:pt modelId="{160BEFF8-4B70-4D72-9E1A-E1B6C09F2A3C}" type="pres">
      <dgm:prSet presAssocID="{35BBE93D-66E3-4AB5-B59D-2C1A0519A8C5}" presName="sp" presStyleCnt="0"/>
      <dgm:spPr/>
    </dgm:pt>
    <dgm:pt modelId="{DB315CFE-FA70-406E-83B9-31AFE0E38AE0}" type="pres">
      <dgm:prSet presAssocID="{76BB05CB-1433-4A21-84C7-6DD4B97A5733}" presName="composite" presStyleCnt="0"/>
      <dgm:spPr/>
    </dgm:pt>
    <dgm:pt modelId="{F39598BF-DF1E-4FF3-BFC3-58232C62E808}" type="pres">
      <dgm:prSet presAssocID="{76BB05CB-1433-4A21-84C7-6DD4B97A5733}" presName="parentText" presStyleLbl="alignNode1" presStyleIdx="2" presStyleCnt="5">
        <dgm:presLayoutVars>
          <dgm:chMax val="1"/>
          <dgm:bulletEnabled val="1"/>
        </dgm:presLayoutVars>
      </dgm:prSet>
      <dgm:spPr/>
    </dgm:pt>
    <dgm:pt modelId="{A4F7F6DD-F011-428B-8567-C29DB8FA414A}" type="pres">
      <dgm:prSet presAssocID="{76BB05CB-1433-4A21-84C7-6DD4B97A5733}" presName="descendantText" presStyleLbl="alignAcc1" presStyleIdx="2" presStyleCnt="5">
        <dgm:presLayoutVars>
          <dgm:bulletEnabled val="1"/>
        </dgm:presLayoutVars>
      </dgm:prSet>
      <dgm:spPr/>
    </dgm:pt>
    <dgm:pt modelId="{42EA8D7E-219B-4274-A2A6-49D06100F8EC}" type="pres">
      <dgm:prSet presAssocID="{C42F9F4E-2E31-44FA-9A30-6FB791615C3A}" presName="sp" presStyleCnt="0"/>
      <dgm:spPr/>
    </dgm:pt>
    <dgm:pt modelId="{9CB8064A-EAD7-47B4-B1F2-1E5C76B95038}" type="pres">
      <dgm:prSet presAssocID="{FADA6794-27FA-4034-BFE3-204F633FEE91}" presName="composite" presStyleCnt="0"/>
      <dgm:spPr/>
    </dgm:pt>
    <dgm:pt modelId="{56552399-F447-4D7C-B9B0-786BAB0D0631}" type="pres">
      <dgm:prSet presAssocID="{FADA6794-27FA-4034-BFE3-204F633FEE91}" presName="parentText" presStyleLbl="alignNode1" presStyleIdx="3" presStyleCnt="5">
        <dgm:presLayoutVars>
          <dgm:chMax val="1"/>
          <dgm:bulletEnabled val="1"/>
        </dgm:presLayoutVars>
      </dgm:prSet>
      <dgm:spPr/>
    </dgm:pt>
    <dgm:pt modelId="{2626C307-1CBF-4595-A8DF-C10BC5834D7C}" type="pres">
      <dgm:prSet presAssocID="{FADA6794-27FA-4034-BFE3-204F633FEE91}" presName="descendantText" presStyleLbl="alignAcc1" presStyleIdx="3" presStyleCnt="5">
        <dgm:presLayoutVars>
          <dgm:bulletEnabled val="1"/>
        </dgm:presLayoutVars>
      </dgm:prSet>
      <dgm:spPr/>
    </dgm:pt>
    <dgm:pt modelId="{EE2B79B7-850B-4D57-82B2-46B374A27AF8}" type="pres">
      <dgm:prSet presAssocID="{C931B197-E2E4-474C-A0FA-93604996293A}" presName="sp" presStyleCnt="0"/>
      <dgm:spPr/>
    </dgm:pt>
    <dgm:pt modelId="{6699385C-ED71-4B3F-BC13-2E1AF7E4EFD5}" type="pres">
      <dgm:prSet presAssocID="{28E35EAD-1BD8-40AC-987C-26D76F37120C}" presName="composite" presStyleCnt="0"/>
      <dgm:spPr/>
    </dgm:pt>
    <dgm:pt modelId="{4A4793E4-9224-43DA-BADB-1DC06B0AB0F6}" type="pres">
      <dgm:prSet presAssocID="{28E35EAD-1BD8-40AC-987C-26D76F37120C}" presName="parentText" presStyleLbl="alignNode1" presStyleIdx="4" presStyleCnt="5">
        <dgm:presLayoutVars>
          <dgm:chMax val="1"/>
          <dgm:bulletEnabled val="1"/>
        </dgm:presLayoutVars>
      </dgm:prSet>
      <dgm:spPr/>
    </dgm:pt>
    <dgm:pt modelId="{F24C8376-C97C-4E1D-8FD7-715A8F57FC2A}" type="pres">
      <dgm:prSet presAssocID="{28E35EAD-1BD8-40AC-987C-26D76F37120C}" presName="descendantText" presStyleLbl="alignAcc1" presStyleIdx="4" presStyleCnt="5">
        <dgm:presLayoutVars>
          <dgm:bulletEnabled val="1"/>
        </dgm:presLayoutVars>
      </dgm:prSet>
      <dgm:spPr/>
    </dgm:pt>
  </dgm:ptLst>
  <dgm:cxnLst>
    <dgm:cxn modelId="{3D234702-AAB2-4217-AE43-E265929B73C9}" srcId="{28E35EAD-1BD8-40AC-987C-26D76F37120C}" destId="{976D0A3A-55BB-49C4-A22B-3677CDD7F0E2}" srcOrd="0" destOrd="0" parTransId="{C60A9B6C-4DA1-4FA5-A48D-B29A6EED674A}" sibTransId="{C1C79B77-8CCE-4505-98BA-0F64CA4C0CFB}"/>
    <dgm:cxn modelId="{223E920B-D22E-4DCD-886D-E9C0CEC431A8}" srcId="{CE9B43BC-DED4-47B9-B05B-4B89B04E6E37}" destId="{76BB05CB-1433-4A21-84C7-6DD4B97A5733}" srcOrd="2" destOrd="0" parTransId="{2B355450-76F8-4F65-BEA4-017CCE3F18E1}" sibTransId="{C42F9F4E-2E31-44FA-9A30-6FB791615C3A}"/>
    <dgm:cxn modelId="{ACFF3A0C-68DF-418B-8F61-81E91D025885}" type="presOf" srcId="{FADA6794-27FA-4034-BFE3-204F633FEE91}" destId="{56552399-F447-4D7C-B9B0-786BAB0D0631}" srcOrd="0" destOrd="0" presId="urn:microsoft.com/office/officeart/2005/8/layout/chevron2"/>
    <dgm:cxn modelId="{6FF3BD10-8280-4794-90C1-2433C7B102A2}" srcId="{78277A09-A206-4B79-9901-874018782C91}" destId="{34B09C95-5FE2-4532-916C-23989D03FB89}" srcOrd="0" destOrd="0" parTransId="{EA359620-8047-46F0-8F67-0C36D91F145E}" sibTransId="{9FF65BCE-36C4-4F5F-A1C3-8DF8FB551C0D}"/>
    <dgm:cxn modelId="{178C1819-464D-40B1-9509-4D4C86EC5323}" type="presOf" srcId="{CE9B43BC-DED4-47B9-B05B-4B89B04E6E37}" destId="{08D10DF2-E41C-4554-9490-D20DAA5BCA16}" srcOrd="0" destOrd="0" presId="urn:microsoft.com/office/officeart/2005/8/layout/chevron2"/>
    <dgm:cxn modelId="{CB8DD625-08F0-4AF7-8EFA-F3631133121A}" type="presOf" srcId="{78277A09-A206-4B79-9901-874018782C91}" destId="{6FE5D44E-8E86-49E4-9818-DB0B78F22557}" srcOrd="0" destOrd="0" presId="urn:microsoft.com/office/officeart/2005/8/layout/chevron2"/>
    <dgm:cxn modelId="{9D317634-F91E-4C0F-BEC9-B15C9E985898}" type="presOf" srcId="{34B09C95-5FE2-4532-916C-23989D03FB89}" destId="{BE031E00-E29E-4738-BECA-1313BA3A534E}" srcOrd="0" destOrd="0" presId="urn:microsoft.com/office/officeart/2005/8/layout/chevron2"/>
    <dgm:cxn modelId="{7B4C8D35-F101-4AB7-844B-5E7979E5E1C1}" type="presOf" srcId="{3F789AC0-8EB5-4B88-84B7-B9BA42D49DB0}" destId="{2626C307-1CBF-4595-A8DF-C10BC5834D7C}" srcOrd="0" destOrd="0" presId="urn:microsoft.com/office/officeart/2005/8/layout/chevron2"/>
    <dgm:cxn modelId="{464FA05C-E8E6-4EE1-958E-4D7F4ED84D64}" type="presOf" srcId="{3224B9AC-0BEC-4558-B39C-5AB966D71F17}" destId="{927EF1DB-5741-493C-A6BC-323182493216}" srcOrd="0" destOrd="0" presId="urn:microsoft.com/office/officeart/2005/8/layout/chevron2"/>
    <dgm:cxn modelId="{6EE8CF67-F2E2-4AF1-B6ED-417814E80D48}" type="presOf" srcId="{976D0A3A-55BB-49C4-A22B-3677CDD7F0E2}" destId="{F24C8376-C97C-4E1D-8FD7-715A8F57FC2A}" srcOrd="0" destOrd="0" presId="urn:microsoft.com/office/officeart/2005/8/layout/chevron2"/>
    <dgm:cxn modelId="{E3EDF56D-C5BA-4AAA-A8C4-32C6D39FAAB0}" type="presOf" srcId="{76BB05CB-1433-4A21-84C7-6DD4B97A5733}" destId="{F39598BF-DF1E-4FF3-BFC3-58232C62E808}" srcOrd="0" destOrd="0" presId="urn:microsoft.com/office/officeart/2005/8/layout/chevron2"/>
    <dgm:cxn modelId="{319AB74F-FE5A-46C2-AF15-DB4F3B073D7C}" type="presOf" srcId="{4EC3F407-E8DF-42A9-BF1E-A420022926DB}" destId="{9AD83B76-4817-41CC-8ECA-1E5023005A3A}" srcOrd="0" destOrd="0" presId="urn:microsoft.com/office/officeart/2005/8/layout/chevron2"/>
    <dgm:cxn modelId="{3F35A693-03B2-4369-ADE4-DAB1C6C0D1AE}" type="presOf" srcId="{B63E8AA4-48A8-4316-AAE5-A5C2FC0E40DD}" destId="{A4F7F6DD-F011-428B-8567-C29DB8FA414A}" srcOrd="0" destOrd="0" presId="urn:microsoft.com/office/officeart/2005/8/layout/chevron2"/>
    <dgm:cxn modelId="{CDF105A0-8CDB-4B55-8EE5-A56A76BF8FE6}" srcId="{CE9B43BC-DED4-47B9-B05B-4B89B04E6E37}" destId="{78277A09-A206-4B79-9901-874018782C91}" srcOrd="1" destOrd="0" parTransId="{DD427696-DD5D-41F6-881C-4D4CBBD75D26}" sibTransId="{35BBE93D-66E3-4AB5-B59D-2C1A0519A8C5}"/>
    <dgm:cxn modelId="{5AF1F8C1-AB68-4F22-BAFE-9C1004293C7E}" srcId="{CE9B43BC-DED4-47B9-B05B-4B89B04E6E37}" destId="{28E35EAD-1BD8-40AC-987C-26D76F37120C}" srcOrd="4" destOrd="0" parTransId="{93B63077-0785-4113-9296-DD4AF0C61268}" sibTransId="{B5AAB633-9B71-4275-98A5-99BF9890D745}"/>
    <dgm:cxn modelId="{05420FC5-9F12-4F79-B701-1FB26A1C4224}" srcId="{CE9B43BC-DED4-47B9-B05B-4B89B04E6E37}" destId="{3224B9AC-0BEC-4558-B39C-5AB966D71F17}" srcOrd="0" destOrd="0" parTransId="{F18EC743-29C4-4E9A-BC83-CDA9A14CB0C8}" sibTransId="{3F3EBE27-AB1B-4471-9163-E689ADDE648B}"/>
    <dgm:cxn modelId="{4DA72DCD-4428-465B-8AA2-FCD6F7C8B457}" srcId="{FADA6794-27FA-4034-BFE3-204F633FEE91}" destId="{3F789AC0-8EB5-4B88-84B7-B9BA42D49DB0}" srcOrd="0" destOrd="0" parTransId="{4774A1CF-E246-468A-AC78-137A4E3E0378}" sibTransId="{10C22EA9-E3C6-4801-A58E-698A4BA651C8}"/>
    <dgm:cxn modelId="{87E9E5D2-2727-459A-93E6-FA29B233AACD}" srcId="{3224B9AC-0BEC-4558-B39C-5AB966D71F17}" destId="{4EC3F407-E8DF-42A9-BF1E-A420022926DB}" srcOrd="0" destOrd="0" parTransId="{9EE3538C-DF13-4643-AFA4-551F05B0D027}" sibTransId="{F7192FB0-9F7D-4193-8D3E-60D0456D994D}"/>
    <dgm:cxn modelId="{57B47FD7-6679-4AB2-B01F-4CD614B9D5B3}" srcId="{CE9B43BC-DED4-47B9-B05B-4B89B04E6E37}" destId="{FADA6794-27FA-4034-BFE3-204F633FEE91}" srcOrd="3" destOrd="0" parTransId="{AC847452-882A-4273-8083-D339D9E1DD1E}" sibTransId="{C931B197-E2E4-474C-A0FA-93604996293A}"/>
    <dgm:cxn modelId="{3244B5E3-1DD0-46A7-8036-FAB1CE198012}" srcId="{76BB05CB-1433-4A21-84C7-6DD4B97A5733}" destId="{B63E8AA4-48A8-4316-AAE5-A5C2FC0E40DD}" srcOrd="0" destOrd="0" parTransId="{41BA7570-2FCF-4AF5-9E18-2F21B506FB83}" sibTransId="{05522541-AC20-4B33-9B5C-9CE69B299814}"/>
    <dgm:cxn modelId="{156DEDFA-C579-41ED-B252-B1C49BCCAFF0}" type="presOf" srcId="{28E35EAD-1BD8-40AC-987C-26D76F37120C}" destId="{4A4793E4-9224-43DA-BADB-1DC06B0AB0F6}" srcOrd="0" destOrd="0" presId="urn:microsoft.com/office/officeart/2005/8/layout/chevron2"/>
    <dgm:cxn modelId="{FD3851E5-62AD-4A65-9B98-31CDC7B57360}" type="presParOf" srcId="{08D10DF2-E41C-4554-9490-D20DAA5BCA16}" destId="{0889A8CF-3144-480F-AC57-DDBC04A66F08}" srcOrd="0" destOrd="0" presId="urn:microsoft.com/office/officeart/2005/8/layout/chevron2"/>
    <dgm:cxn modelId="{087FDF6C-86F6-4C1F-B078-4EFEC9EB7E07}" type="presParOf" srcId="{0889A8CF-3144-480F-AC57-DDBC04A66F08}" destId="{927EF1DB-5741-493C-A6BC-323182493216}" srcOrd="0" destOrd="0" presId="urn:microsoft.com/office/officeart/2005/8/layout/chevron2"/>
    <dgm:cxn modelId="{65F6BEEF-CD9E-489D-89FB-A35F9DB130BA}" type="presParOf" srcId="{0889A8CF-3144-480F-AC57-DDBC04A66F08}" destId="{9AD83B76-4817-41CC-8ECA-1E5023005A3A}" srcOrd="1" destOrd="0" presId="urn:microsoft.com/office/officeart/2005/8/layout/chevron2"/>
    <dgm:cxn modelId="{DEAF1765-0DCA-413B-B671-DC7DE61AAC44}" type="presParOf" srcId="{08D10DF2-E41C-4554-9490-D20DAA5BCA16}" destId="{212CA65B-A4CB-4030-B0CC-6838AAC74967}" srcOrd="1" destOrd="0" presId="urn:microsoft.com/office/officeart/2005/8/layout/chevron2"/>
    <dgm:cxn modelId="{7A3638AF-99B0-4A9A-9F52-81C0469C291F}" type="presParOf" srcId="{08D10DF2-E41C-4554-9490-D20DAA5BCA16}" destId="{EFCCC388-3CED-4880-8C97-052768DB1155}" srcOrd="2" destOrd="0" presId="urn:microsoft.com/office/officeart/2005/8/layout/chevron2"/>
    <dgm:cxn modelId="{D349EE49-5F26-4740-A87E-B10B3F062C12}" type="presParOf" srcId="{EFCCC388-3CED-4880-8C97-052768DB1155}" destId="{6FE5D44E-8E86-49E4-9818-DB0B78F22557}" srcOrd="0" destOrd="0" presId="urn:microsoft.com/office/officeart/2005/8/layout/chevron2"/>
    <dgm:cxn modelId="{9B5A73C0-1952-4F3A-94B6-2DCCD7125895}" type="presParOf" srcId="{EFCCC388-3CED-4880-8C97-052768DB1155}" destId="{BE031E00-E29E-4738-BECA-1313BA3A534E}" srcOrd="1" destOrd="0" presId="urn:microsoft.com/office/officeart/2005/8/layout/chevron2"/>
    <dgm:cxn modelId="{A0B870C0-031D-4641-AA67-B1A7DCB86596}" type="presParOf" srcId="{08D10DF2-E41C-4554-9490-D20DAA5BCA16}" destId="{160BEFF8-4B70-4D72-9E1A-E1B6C09F2A3C}" srcOrd="3" destOrd="0" presId="urn:microsoft.com/office/officeart/2005/8/layout/chevron2"/>
    <dgm:cxn modelId="{54C88AEF-7973-4BE7-B511-27EBF9E20025}" type="presParOf" srcId="{08D10DF2-E41C-4554-9490-D20DAA5BCA16}" destId="{DB315CFE-FA70-406E-83B9-31AFE0E38AE0}" srcOrd="4" destOrd="0" presId="urn:microsoft.com/office/officeart/2005/8/layout/chevron2"/>
    <dgm:cxn modelId="{4E96836A-712E-4373-91B4-9D833EBA56F2}" type="presParOf" srcId="{DB315CFE-FA70-406E-83B9-31AFE0E38AE0}" destId="{F39598BF-DF1E-4FF3-BFC3-58232C62E808}" srcOrd="0" destOrd="0" presId="urn:microsoft.com/office/officeart/2005/8/layout/chevron2"/>
    <dgm:cxn modelId="{50CF91EC-9D85-401B-8AFE-BA5960634C9F}" type="presParOf" srcId="{DB315CFE-FA70-406E-83B9-31AFE0E38AE0}" destId="{A4F7F6DD-F011-428B-8567-C29DB8FA414A}" srcOrd="1" destOrd="0" presId="urn:microsoft.com/office/officeart/2005/8/layout/chevron2"/>
    <dgm:cxn modelId="{7B285E4B-9B40-4732-A824-8D39FB5A5F3F}" type="presParOf" srcId="{08D10DF2-E41C-4554-9490-D20DAA5BCA16}" destId="{42EA8D7E-219B-4274-A2A6-49D06100F8EC}" srcOrd="5" destOrd="0" presId="urn:microsoft.com/office/officeart/2005/8/layout/chevron2"/>
    <dgm:cxn modelId="{A3037FD6-B93F-48E2-9023-F718A7DA2F75}" type="presParOf" srcId="{08D10DF2-E41C-4554-9490-D20DAA5BCA16}" destId="{9CB8064A-EAD7-47B4-B1F2-1E5C76B95038}" srcOrd="6" destOrd="0" presId="urn:microsoft.com/office/officeart/2005/8/layout/chevron2"/>
    <dgm:cxn modelId="{E77932D8-D051-41C6-A3BF-B08C7753862A}" type="presParOf" srcId="{9CB8064A-EAD7-47B4-B1F2-1E5C76B95038}" destId="{56552399-F447-4D7C-B9B0-786BAB0D0631}" srcOrd="0" destOrd="0" presId="urn:microsoft.com/office/officeart/2005/8/layout/chevron2"/>
    <dgm:cxn modelId="{E73483F4-C053-407F-8A63-A2D95B4F407B}" type="presParOf" srcId="{9CB8064A-EAD7-47B4-B1F2-1E5C76B95038}" destId="{2626C307-1CBF-4595-A8DF-C10BC5834D7C}" srcOrd="1" destOrd="0" presId="urn:microsoft.com/office/officeart/2005/8/layout/chevron2"/>
    <dgm:cxn modelId="{1B562181-8AEE-475F-9793-314B951B3E8E}" type="presParOf" srcId="{08D10DF2-E41C-4554-9490-D20DAA5BCA16}" destId="{EE2B79B7-850B-4D57-82B2-46B374A27AF8}" srcOrd="7" destOrd="0" presId="urn:microsoft.com/office/officeart/2005/8/layout/chevron2"/>
    <dgm:cxn modelId="{29668EAD-97B5-4727-A148-F1C6E0547FED}" type="presParOf" srcId="{08D10DF2-E41C-4554-9490-D20DAA5BCA16}" destId="{6699385C-ED71-4B3F-BC13-2E1AF7E4EFD5}" srcOrd="8" destOrd="0" presId="urn:microsoft.com/office/officeart/2005/8/layout/chevron2"/>
    <dgm:cxn modelId="{3858E364-7A9E-4126-8BA9-E0D2E7A060A2}" type="presParOf" srcId="{6699385C-ED71-4B3F-BC13-2E1AF7E4EFD5}" destId="{4A4793E4-9224-43DA-BADB-1DC06B0AB0F6}" srcOrd="0" destOrd="0" presId="urn:microsoft.com/office/officeart/2005/8/layout/chevron2"/>
    <dgm:cxn modelId="{E41F0B34-1089-455D-ABAC-BB9B92013DEF}" type="presParOf" srcId="{6699385C-ED71-4B3F-BC13-2E1AF7E4EFD5}" destId="{F24C8376-C97C-4E1D-8FD7-715A8F57FC2A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E9B43BC-DED4-47B9-B05B-4B89B04E6E37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FADA6794-27FA-4034-BFE3-204F633FEE91}">
      <dgm:prSet phldrT="[Text]" custT="1"/>
      <dgm:spPr>
        <a:solidFill>
          <a:srgbClr val="00B050"/>
        </a:solidFill>
      </dgm:spPr>
      <dgm:t>
        <a:bodyPr/>
        <a:lstStyle/>
        <a:p>
          <a:r>
            <a:rPr lang="pt-BR" sz="1900" dirty="0"/>
            <a:t>4</a:t>
          </a:r>
        </a:p>
      </dgm:t>
    </dgm:pt>
    <dgm:pt modelId="{AC847452-882A-4273-8083-D339D9E1DD1E}" type="parTrans" cxnId="{57B47FD7-6679-4AB2-B01F-4CD614B9D5B3}">
      <dgm:prSet/>
      <dgm:spPr/>
      <dgm:t>
        <a:bodyPr/>
        <a:lstStyle/>
        <a:p>
          <a:endParaRPr lang="pt-BR"/>
        </a:p>
      </dgm:t>
    </dgm:pt>
    <dgm:pt modelId="{C931B197-E2E4-474C-A0FA-93604996293A}" type="sibTrans" cxnId="{57B47FD7-6679-4AB2-B01F-4CD614B9D5B3}">
      <dgm:prSet/>
      <dgm:spPr/>
      <dgm:t>
        <a:bodyPr/>
        <a:lstStyle/>
        <a:p>
          <a:endParaRPr lang="pt-BR"/>
        </a:p>
      </dgm:t>
    </dgm:pt>
    <dgm:pt modelId="{3F789AC0-8EB5-4B88-84B7-B9BA42D49DB0}">
      <dgm:prSet custT="1"/>
      <dgm:spPr/>
      <dgm:t>
        <a:bodyPr/>
        <a:lstStyle/>
        <a:p>
          <a:r>
            <a:rPr lang="pt-BR" sz="1900" dirty="0"/>
            <a:t>Gerar JWT com algoritmo de criptográfica RS256;</a:t>
          </a:r>
        </a:p>
      </dgm:t>
    </dgm:pt>
    <dgm:pt modelId="{4774A1CF-E246-468A-AC78-137A4E3E0378}" type="parTrans" cxnId="{4DA72DCD-4428-465B-8AA2-FCD6F7C8B457}">
      <dgm:prSet/>
      <dgm:spPr/>
      <dgm:t>
        <a:bodyPr/>
        <a:lstStyle/>
        <a:p>
          <a:endParaRPr lang="pt-BR"/>
        </a:p>
      </dgm:t>
    </dgm:pt>
    <dgm:pt modelId="{10C22EA9-E3C6-4801-A58E-698A4BA651C8}" type="sibTrans" cxnId="{4DA72DCD-4428-465B-8AA2-FCD6F7C8B457}">
      <dgm:prSet/>
      <dgm:spPr/>
      <dgm:t>
        <a:bodyPr/>
        <a:lstStyle/>
        <a:p>
          <a:endParaRPr lang="pt-BR"/>
        </a:p>
      </dgm:t>
    </dgm:pt>
    <dgm:pt modelId="{08D10DF2-E41C-4554-9490-D20DAA5BCA16}" type="pres">
      <dgm:prSet presAssocID="{CE9B43BC-DED4-47B9-B05B-4B89B04E6E37}" presName="linearFlow" presStyleCnt="0">
        <dgm:presLayoutVars>
          <dgm:dir/>
          <dgm:animLvl val="lvl"/>
          <dgm:resizeHandles val="exact"/>
        </dgm:presLayoutVars>
      </dgm:prSet>
      <dgm:spPr/>
    </dgm:pt>
    <dgm:pt modelId="{9CB8064A-EAD7-47B4-B1F2-1E5C76B95038}" type="pres">
      <dgm:prSet presAssocID="{FADA6794-27FA-4034-BFE3-204F633FEE91}" presName="composite" presStyleCnt="0"/>
      <dgm:spPr/>
    </dgm:pt>
    <dgm:pt modelId="{56552399-F447-4D7C-B9B0-786BAB0D0631}" type="pres">
      <dgm:prSet presAssocID="{FADA6794-27FA-4034-BFE3-204F633FEE91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2626C307-1CBF-4595-A8DF-C10BC5834D7C}" type="pres">
      <dgm:prSet presAssocID="{FADA6794-27FA-4034-BFE3-204F633FEE91}" presName="descendantText" presStyleLbl="alignAcc1" presStyleIdx="0" presStyleCnt="1" custLinFactNeighborY="-1529">
        <dgm:presLayoutVars>
          <dgm:bulletEnabled val="1"/>
        </dgm:presLayoutVars>
      </dgm:prSet>
      <dgm:spPr/>
    </dgm:pt>
  </dgm:ptLst>
  <dgm:cxnLst>
    <dgm:cxn modelId="{ACFF3A0C-68DF-418B-8F61-81E91D025885}" type="presOf" srcId="{FADA6794-27FA-4034-BFE3-204F633FEE91}" destId="{56552399-F447-4D7C-B9B0-786BAB0D0631}" srcOrd="0" destOrd="0" presId="urn:microsoft.com/office/officeart/2005/8/layout/chevron2"/>
    <dgm:cxn modelId="{178C1819-464D-40B1-9509-4D4C86EC5323}" type="presOf" srcId="{CE9B43BC-DED4-47B9-B05B-4B89B04E6E37}" destId="{08D10DF2-E41C-4554-9490-D20DAA5BCA16}" srcOrd="0" destOrd="0" presId="urn:microsoft.com/office/officeart/2005/8/layout/chevron2"/>
    <dgm:cxn modelId="{7B4C8D35-F101-4AB7-844B-5E7979E5E1C1}" type="presOf" srcId="{3F789AC0-8EB5-4B88-84B7-B9BA42D49DB0}" destId="{2626C307-1CBF-4595-A8DF-C10BC5834D7C}" srcOrd="0" destOrd="0" presId="urn:microsoft.com/office/officeart/2005/8/layout/chevron2"/>
    <dgm:cxn modelId="{4DA72DCD-4428-465B-8AA2-FCD6F7C8B457}" srcId="{FADA6794-27FA-4034-BFE3-204F633FEE91}" destId="{3F789AC0-8EB5-4B88-84B7-B9BA42D49DB0}" srcOrd="0" destOrd="0" parTransId="{4774A1CF-E246-468A-AC78-137A4E3E0378}" sibTransId="{10C22EA9-E3C6-4801-A58E-698A4BA651C8}"/>
    <dgm:cxn modelId="{57B47FD7-6679-4AB2-B01F-4CD614B9D5B3}" srcId="{CE9B43BC-DED4-47B9-B05B-4B89B04E6E37}" destId="{FADA6794-27FA-4034-BFE3-204F633FEE91}" srcOrd="0" destOrd="0" parTransId="{AC847452-882A-4273-8083-D339D9E1DD1E}" sibTransId="{C931B197-E2E4-474C-A0FA-93604996293A}"/>
    <dgm:cxn modelId="{A3037FD6-B93F-48E2-9023-F718A7DA2F75}" type="presParOf" srcId="{08D10DF2-E41C-4554-9490-D20DAA5BCA16}" destId="{9CB8064A-EAD7-47B4-B1F2-1E5C76B95038}" srcOrd="0" destOrd="0" presId="urn:microsoft.com/office/officeart/2005/8/layout/chevron2"/>
    <dgm:cxn modelId="{E77932D8-D051-41C6-A3BF-B08C7753862A}" type="presParOf" srcId="{9CB8064A-EAD7-47B4-B1F2-1E5C76B95038}" destId="{56552399-F447-4D7C-B9B0-786BAB0D0631}" srcOrd="0" destOrd="0" presId="urn:microsoft.com/office/officeart/2005/8/layout/chevron2"/>
    <dgm:cxn modelId="{E73483F4-C053-407F-8A63-A2D95B4F407B}" type="presParOf" srcId="{9CB8064A-EAD7-47B4-B1F2-1E5C76B95038}" destId="{2626C307-1CBF-4595-A8DF-C10BC5834D7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E9B43BC-DED4-47B9-B05B-4B89B04E6E37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FADA6794-27FA-4034-BFE3-204F633FEE91}">
      <dgm:prSet phldrT="[Text]" custT="1"/>
      <dgm:spPr>
        <a:solidFill>
          <a:srgbClr val="00B050"/>
        </a:solidFill>
      </dgm:spPr>
      <dgm:t>
        <a:bodyPr/>
        <a:lstStyle/>
        <a:p>
          <a:r>
            <a:rPr lang="pt-BR" sz="1900" dirty="0"/>
            <a:t>4</a:t>
          </a:r>
        </a:p>
      </dgm:t>
    </dgm:pt>
    <dgm:pt modelId="{AC847452-882A-4273-8083-D339D9E1DD1E}" type="parTrans" cxnId="{57B47FD7-6679-4AB2-B01F-4CD614B9D5B3}">
      <dgm:prSet/>
      <dgm:spPr/>
      <dgm:t>
        <a:bodyPr/>
        <a:lstStyle/>
        <a:p>
          <a:endParaRPr lang="pt-BR"/>
        </a:p>
      </dgm:t>
    </dgm:pt>
    <dgm:pt modelId="{C931B197-E2E4-474C-A0FA-93604996293A}" type="sibTrans" cxnId="{57B47FD7-6679-4AB2-B01F-4CD614B9D5B3}">
      <dgm:prSet/>
      <dgm:spPr/>
      <dgm:t>
        <a:bodyPr/>
        <a:lstStyle/>
        <a:p>
          <a:endParaRPr lang="pt-BR"/>
        </a:p>
      </dgm:t>
    </dgm:pt>
    <dgm:pt modelId="{3F789AC0-8EB5-4B88-84B7-B9BA42D49DB0}">
      <dgm:prSet custT="1"/>
      <dgm:spPr/>
      <dgm:t>
        <a:bodyPr/>
        <a:lstStyle/>
        <a:p>
          <a:r>
            <a:rPr lang="pt-BR" sz="1900" dirty="0"/>
            <a:t>Gerar JWT com algoritmo de criptográfica RS256;</a:t>
          </a:r>
        </a:p>
      </dgm:t>
    </dgm:pt>
    <dgm:pt modelId="{4774A1CF-E246-468A-AC78-137A4E3E0378}" type="parTrans" cxnId="{4DA72DCD-4428-465B-8AA2-FCD6F7C8B457}">
      <dgm:prSet/>
      <dgm:spPr/>
      <dgm:t>
        <a:bodyPr/>
        <a:lstStyle/>
        <a:p>
          <a:endParaRPr lang="pt-BR"/>
        </a:p>
      </dgm:t>
    </dgm:pt>
    <dgm:pt modelId="{10C22EA9-E3C6-4801-A58E-698A4BA651C8}" type="sibTrans" cxnId="{4DA72DCD-4428-465B-8AA2-FCD6F7C8B457}">
      <dgm:prSet/>
      <dgm:spPr/>
      <dgm:t>
        <a:bodyPr/>
        <a:lstStyle/>
        <a:p>
          <a:endParaRPr lang="pt-BR"/>
        </a:p>
      </dgm:t>
    </dgm:pt>
    <dgm:pt modelId="{08D10DF2-E41C-4554-9490-D20DAA5BCA16}" type="pres">
      <dgm:prSet presAssocID="{CE9B43BC-DED4-47B9-B05B-4B89B04E6E37}" presName="linearFlow" presStyleCnt="0">
        <dgm:presLayoutVars>
          <dgm:dir/>
          <dgm:animLvl val="lvl"/>
          <dgm:resizeHandles val="exact"/>
        </dgm:presLayoutVars>
      </dgm:prSet>
      <dgm:spPr/>
    </dgm:pt>
    <dgm:pt modelId="{9CB8064A-EAD7-47B4-B1F2-1E5C76B95038}" type="pres">
      <dgm:prSet presAssocID="{FADA6794-27FA-4034-BFE3-204F633FEE91}" presName="composite" presStyleCnt="0"/>
      <dgm:spPr/>
    </dgm:pt>
    <dgm:pt modelId="{56552399-F447-4D7C-B9B0-786BAB0D0631}" type="pres">
      <dgm:prSet presAssocID="{FADA6794-27FA-4034-BFE3-204F633FEE91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2626C307-1CBF-4595-A8DF-C10BC5834D7C}" type="pres">
      <dgm:prSet presAssocID="{FADA6794-27FA-4034-BFE3-204F633FEE91}" presName="descendantText" presStyleLbl="alignAcc1" presStyleIdx="0" presStyleCnt="1" custLinFactNeighborY="-1529">
        <dgm:presLayoutVars>
          <dgm:bulletEnabled val="1"/>
        </dgm:presLayoutVars>
      </dgm:prSet>
      <dgm:spPr/>
    </dgm:pt>
  </dgm:ptLst>
  <dgm:cxnLst>
    <dgm:cxn modelId="{ACFF3A0C-68DF-418B-8F61-81E91D025885}" type="presOf" srcId="{FADA6794-27FA-4034-BFE3-204F633FEE91}" destId="{56552399-F447-4D7C-B9B0-786BAB0D0631}" srcOrd="0" destOrd="0" presId="urn:microsoft.com/office/officeart/2005/8/layout/chevron2"/>
    <dgm:cxn modelId="{178C1819-464D-40B1-9509-4D4C86EC5323}" type="presOf" srcId="{CE9B43BC-DED4-47B9-B05B-4B89B04E6E37}" destId="{08D10DF2-E41C-4554-9490-D20DAA5BCA16}" srcOrd="0" destOrd="0" presId="urn:microsoft.com/office/officeart/2005/8/layout/chevron2"/>
    <dgm:cxn modelId="{7B4C8D35-F101-4AB7-844B-5E7979E5E1C1}" type="presOf" srcId="{3F789AC0-8EB5-4B88-84B7-B9BA42D49DB0}" destId="{2626C307-1CBF-4595-A8DF-C10BC5834D7C}" srcOrd="0" destOrd="0" presId="urn:microsoft.com/office/officeart/2005/8/layout/chevron2"/>
    <dgm:cxn modelId="{4DA72DCD-4428-465B-8AA2-FCD6F7C8B457}" srcId="{FADA6794-27FA-4034-BFE3-204F633FEE91}" destId="{3F789AC0-8EB5-4B88-84B7-B9BA42D49DB0}" srcOrd="0" destOrd="0" parTransId="{4774A1CF-E246-468A-AC78-137A4E3E0378}" sibTransId="{10C22EA9-E3C6-4801-A58E-698A4BA651C8}"/>
    <dgm:cxn modelId="{57B47FD7-6679-4AB2-B01F-4CD614B9D5B3}" srcId="{CE9B43BC-DED4-47B9-B05B-4B89B04E6E37}" destId="{FADA6794-27FA-4034-BFE3-204F633FEE91}" srcOrd="0" destOrd="0" parTransId="{AC847452-882A-4273-8083-D339D9E1DD1E}" sibTransId="{C931B197-E2E4-474C-A0FA-93604996293A}"/>
    <dgm:cxn modelId="{A3037FD6-B93F-48E2-9023-F718A7DA2F75}" type="presParOf" srcId="{08D10DF2-E41C-4554-9490-D20DAA5BCA16}" destId="{9CB8064A-EAD7-47B4-B1F2-1E5C76B95038}" srcOrd="0" destOrd="0" presId="urn:microsoft.com/office/officeart/2005/8/layout/chevron2"/>
    <dgm:cxn modelId="{E77932D8-D051-41C6-A3BF-B08C7753862A}" type="presParOf" srcId="{9CB8064A-EAD7-47B4-B1F2-1E5C76B95038}" destId="{56552399-F447-4D7C-B9B0-786BAB0D0631}" srcOrd="0" destOrd="0" presId="urn:microsoft.com/office/officeart/2005/8/layout/chevron2"/>
    <dgm:cxn modelId="{E73483F4-C053-407F-8A63-A2D95B4F407B}" type="presParOf" srcId="{9CB8064A-EAD7-47B4-B1F2-1E5C76B95038}" destId="{2626C307-1CBF-4595-A8DF-C10BC5834D7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E9B43BC-DED4-47B9-B05B-4B89B04E6E37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3224B9AC-0BEC-4558-B39C-5AB966D71F17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1</a:t>
          </a:r>
        </a:p>
      </dgm:t>
    </dgm:pt>
    <dgm:pt modelId="{F18EC743-29C4-4E9A-BC83-CDA9A14CB0C8}" type="parTrans" cxnId="{05420FC5-9F12-4F79-B701-1FB26A1C4224}">
      <dgm:prSet/>
      <dgm:spPr/>
      <dgm:t>
        <a:bodyPr/>
        <a:lstStyle/>
        <a:p>
          <a:endParaRPr lang="pt-BR"/>
        </a:p>
      </dgm:t>
    </dgm:pt>
    <dgm:pt modelId="{3F3EBE27-AB1B-4471-9163-E689ADDE648B}" type="sibTrans" cxnId="{05420FC5-9F12-4F79-B701-1FB26A1C4224}">
      <dgm:prSet/>
      <dgm:spPr/>
      <dgm:t>
        <a:bodyPr/>
        <a:lstStyle/>
        <a:p>
          <a:endParaRPr lang="pt-BR"/>
        </a:p>
      </dgm:t>
    </dgm:pt>
    <dgm:pt modelId="{4EC3F407-E8DF-42A9-BF1E-A420022926DB}">
      <dgm:prSet phldrT="[Text]"/>
      <dgm:spPr/>
      <dgm:t>
        <a:bodyPr/>
        <a:lstStyle/>
        <a:p>
          <a:r>
            <a:rPr lang="pt-BR" dirty="0"/>
            <a:t>Gerar chave privada de 2048 bits;</a:t>
          </a:r>
        </a:p>
      </dgm:t>
    </dgm:pt>
    <dgm:pt modelId="{9EE3538C-DF13-4643-AFA4-551F05B0D027}" type="parTrans" cxnId="{87E9E5D2-2727-459A-93E6-FA29B233AACD}">
      <dgm:prSet/>
      <dgm:spPr/>
      <dgm:t>
        <a:bodyPr/>
        <a:lstStyle/>
        <a:p>
          <a:endParaRPr lang="pt-BR"/>
        </a:p>
      </dgm:t>
    </dgm:pt>
    <dgm:pt modelId="{F7192FB0-9F7D-4193-8D3E-60D0456D994D}" type="sibTrans" cxnId="{87E9E5D2-2727-459A-93E6-FA29B233AACD}">
      <dgm:prSet/>
      <dgm:spPr/>
      <dgm:t>
        <a:bodyPr/>
        <a:lstStyle/>
        <a:p>
          <a:endParaRPr lang="pt-BR"/>
        </a:p>
      </dgm:t>
    </dgm:pt>
    <dgm:pt modelId="{78277A09-A206-4B79-9901-874018782C91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2</a:t>
          </a:r>
        </a:p>
      </dgm:t>
    </dgm:pt>
    <dgm:pt modelId="{DD427696-DD5D-41F6-881C-4D4CBBD75D26}" type="parTrans" cxnId="{CDF105A0-8CDB-4B55-8EE5-A56A76BF8FE6}">
      <dgm:prSet/>
      <dgm:spPr/>
      <dgm:t>
        <a:bodyPr/>
        <a:lstStyle/>
        <a:p>
          <a:endParaRPr lang="pt-BR"/>
        </a:p>
      </dgm:t>
    </dgm:pt>
    <dgm:pt modelId="{35BBE93D-66E3-4AB5-B59D-2C1A0519A8C5}" type="sibTrans" cxnId="{CDF105A0-8CDB-4B55-8EE5-A56A76BF8FE6}">
      <dgm:prSet/>
      <dgm:spPr/>
      <dgm:t>
        <a:bodyPr/>
        <a:lstStyle/>
        <a:p>
          <a:endParaRPr lang="pt-BR"/>
        </a:p>
      </dgm:t>
    </dgm:pt>
    <dgm:pt modelId="{34B09C95-5FE2-4532-916C-23989D03FB89}">
      <dgm:prSet phldrT="[Text]"/>
      <dgm:spPr/>
      <dgm:t>
        <a:bodyPr/>
        <a:lstStyle/>
        <a:p>
          <a:r>
            <a:rPr lang="pt-BR" dirty="0"/>
            <a:t>Gerar um Certificado digital com formado X509, </a:t>
          </a:r>
          <a:r>
            <a:rPr lang="pt-BR" dirty="0" err="1"/>
            <a:t>autoassinado</a:t>
          </a:r>
          <a:r>
            <a:rPr lang="pt-BR" dirty="0"/>
            <a:t> com a chave privada gerada, e tamanho até 4KB;</a:t>
          </a:r>
        </a:p>
      </dgm:t>
    </dgm:pt>
    <dgm:pt modelId="{EA359620-8047-46F0-8F67-0C36D91F145E}" type="parTrans" cxnId="{6FF3BD10-8280-4794-90C1-2433C7B102A2}">
      <dgm:prSet/>
      <dgm:spPr/>
      <dgm:t>
        <a:bodyPr/>
        <a:lstStyle/>
        <a:p>
          <a:endParaRPr lang="pt-BR"/>
        </a:p>
      </dgm:t>
    </dgm:pt>
    <dgm:pt modelId="{9FF65BCE-36C4-4F5F-A1C3-8DF8FB551C0D}" type="sibTrans" cxnId="{6FF3BD10-8280-4794-90C1-2433C7B102A2}">
      <dgm:prSet/>
      <dgm:spPr/>
      <dgm:t>
        <a:bodyPr/>
        <a:lstStyle/>
        <a:p>
          <a:endParaRPr lang="pt-BR"/>
        </a:p>
      </dgm:t>
    </dgm:pt>
    <dgm:pt modelId="{76BB05CB-1433-4A21-84C7-6DD4B97A5733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3</a:t>
          </a:r>
        </a:p>
      </dgm:t>
    </dgm:pt>
    <dgm:pt modelId="{2B355450-76F8-4F65-BEA4-017CCE3F18E1}" type="parTrans" cxnId="{223E920B-D22E-4DCD-886D-E9C0CEC431A8}">
      <dgm:prSet/>
      <dgm:spPr/>
      <dgm:t>
        <a:bodyPr/>
        <a:lstStyle/>
        <a:p>
          <a:endParaRPr lang="pt-BR"/>
        </a:p>
      </dgm:t>
    </dgm:pt>
    <dgm:pt modelId="{C42F9F4E-2E31-44FA-9A30-6FB791615C3A}" type="sibTrans" cxnId="{223E920B-D22E-4DCD-886D-E9C0CEC431A8}">
      <dgm:prSet/>
      <dgm:spPr/>
      <dgm:t>
        <a:bodyPr/>
        <a:lstStyle/>
        <a:p>
          <a:endParaRPr lang="pt-BR"/>
        </a:p>
      </dgm:t>
    </dgm:pt>
    <dgm:pt modelId="{B63E8AA4-48A8-4316-AAE5-A5C2FC0E40DD}">
      <dgm:prSet phldrT="[Text]"/>
      <dgm:spPr/>
      <dgm:t>
        <a:bodyPr/>
        <a:lstStyle/>
        <a:p>
          <a:r>
            <a:rPr lang="pt-BR" dirty="0"/>
            <a:t>Setup Salesforce: Importar Certificado,  Configurar usuário e perfil de integração, Configurações de sessão e politicas.</a:t>
          </a:r>
        </a:p>
      </dgm:t>
    </dgm:pt>
    <dgm:pt modelId="{41BA7570-2FCF-4AF5-9E18-2F21B506FB83}" type="parTrans" cxnId="{3244B5E3-1DD0-46A7-8036-FAB1CE198012}">
      <dgm:prSet/>
      <dgm:spPr/>
      <dgm:t>
        <a:bodyPr/>
        <a:lstStyle/>
        <a:p>
          <a:endParaRPr lang="pt-BR"/>
        </a:p>
      </dgm:t>
    </dgm:pt>
    <dgm:pt modelId="{05522541-AC20-4B33-9B5C-9CE69B299814}" type="sibTrans" cxnId="{3244B5E3-1DD0-46A7-8036-FAB1CE198012}">
      <dgm:prSet/>
      <dgm:spPr/>
      <dgm:t>
        <a:bodyPr/>
        <a:lstStyle/>
        <a:p>
          <a:endParaRPr lang="pt-BR"/>
        </a:p>
      </dgm:t>
    </dgm:pt>
    <dgm:pt modelId="{FADA6794-27FA-4034-BFE3-204F633FEE91}">
      <dgm:prSet phldrT="[Text]"/>
      <dgm:spPr>
        <a:solidFill>
          <a:srgbClr val="00B050"/>
        </a:solidFill>
      </dgm:spPr>
      <dgm:t>
        <a:bodyPr/>
        <a:lstStyle/>
        <a:p>
          <a:r>
            <a:rPr lang="pt-BR" dirty="0"/>
            <a:t>4</a:t>
          </a:r>
        </a:p>
      </dgm:t>
    </dgm:pt>
    <dgm:pt modelId="{AC847452-882A-4273-8083-D339D9E1DD1E}" type="parTrans" cxnId="{57B47FD7-6679-4AB2-B01F-4CD614B9D5B3}">
      <dgm:prSet/>
      <dgm:spPr/>
      <dgm:t>
        <a:bodyPr/>
        <a:lstStyle/>
        <a:p>
          <a:endParaRPr lang="pt-BR"/>
        </a:p>
      </dgm:t>
    </dgm:pt>
    <dgm:pt modelId="{C931B197-E2E4-474C-A0FA-93604996293A}" type="sibTrans" cxnId="{57B47FD7-6679-4AB2-B01F-4CD614B9D5B3}">
      <dgm:prSet/>
      <dgm:spPr/>
      <dgm:t>
        <a:bodyPr/>
        <a:lstStyle/>
        <a:p>
          <a:endParaRPr lang="pt-BR"/>
        </a:p>
      </dgm:t>
    </dgm:pt>
    <dgm:pt modelId="{3F789AC0-8EB5-4B88-84B7-B9BA42D49DB0}">
      <dgm:prSet/>
      <dgm:spPr/>
      <dgm:t>
        <a:bodyPr/>
        <a:lstStyle/>
        <a:p>
          <a:r>
            <a:rPr lang="pt-BR" dirty="0"/>
            <a:t>Gerar JWT com algoritmo de criptográfica RS256;</a:t>
          </a:r>
        </a:p>
      </dgm:t>
    </dgm:pt>
    <dgm:pt modelId="{4774A1CF-E246-468A-AC78-137A4E3E0378}" type="parTrans" cxnId="{4DA72DCD-4428-465B-8AA2-FCD6F7C8B457}">
      <dgm:prSet/>
      <dgm:spPr/>
      <dgm:t>
        <a:bodyPr/>
        <a:lstStyle/>
        <a:p>
          <a:endParaRPr lang="pt-BR"/>
        </a:p>
      </dgm:t>
    </dgm:pt>
    <dgm:pt modelId="{10C22EA9-E3C6-4801-A58E-698A4BA651C8}" type="sibTrans" cxnId="{4DA72DCD-4428-465B-8AA2-FCD6F7C8B457}">
      <dgm:prSet/>
      <dgm:spPr/>
      <dgm:t>
        <a:bodyPr/>
        <a:lstStyle/>
        <a:p>
          <a:endParaRPr lang="pt-BR"/>
        </a:p>
      </dgm:t>
    </dgm:pt>
    <dgm:pt modelId="{28E35EAD-1BD8-40AC-987C-26D76F37120C}">
      <dgm:prSet/>
      <dgm:spPr>
        <a:solidFill>
          <a:srgbClr val="00B050"/>
        </a:solidFill>
      </dgm:spPr>
      <dgm:t>
        <a:bodyPr/>
        <a:lstStyle/>
        <a:p>
          <a:r>
            <a:rPr lang="pt-BR" dirty="0"/>
            <a:t>5</a:t>
          </a:r>
        </a:p>
      </dgm:t>
    </dgm:pt>
    <dgm:pt modelId="{93B63077-0785-4113-9296-DD4AF0C61268}" type="parTrans" cxnId="{5AF1F8C1-AB68-4F22-BAFE-9C1004293C7E}">
      <dgm:prSet/>
      <dgm:spPr/>
      <dgm:t>
        <a:bodyPr/>
        <a:lstStyle/>
        <a:p>
          <a:endParaRPr lang="pt-BR"/>
        </a:p>
      </dgm:t>
    </dgm:pt>
    <dgm:pt modelId="{B5AAB633-9B71-4275-98A5-99BF9890D745}" type="sibTrans" cxnId="{5AF1F8C1-AB68-4F22-BAFE-9C1004293C7E}">
      <dgm:prSet/>
      <dgm:spPr/>
      <dgm:t>
        <a:bodyPr/>
        <a:lstStyle/>
        <a:p>
          <a:endParaRPr lang="pt-BR"/>
        </a:p>
      </dgm:t>
    </dgm:pt>
    <dgm:pt modelId="{976D0A3A-55BB-49C4-A22B-3677CDD7F0E2}">
      <dgm:prSet/>
      <dgm:spPr/>
      <dgm:t>
        <a:bodyPr/>
        <a:lstStyle/>
        <a:p>
          <a:r>
            <a:rPr lang="pt-BR" dirty="0"/>
            <a:t>Envio de requisição (Grant </a:t>
          </a:r>
          <a:r>
            <a:rPr lang="pt-BR" dirty="0" err="1"/>
            <a:t>type</a:t>
          </a:r>
          <a:r>
            <a:rPr lang="pt-BR" dirty="0"/>
            <a:t> + JWT)</a:t>
          </a:r>
        </a:p>
      </dgm:t>
    </dgm:pt>
    <dgm:pt modelId="{C60A9B6C-4DA1-4FA5-A48D-B29A6EED674A}" type="parTrans" cxnId="{3D234702-AAB2-4217-AE43-E265929B73C9}">
      <dgm:prSet/>
      <dgm:spPr/>
      <dgm:t>
        <a:bodyPr/>
        <a:lstStyle/>
        <a:p>
          <a:endParaRPr lang="pt-BR"/>
        </a:p>
      </dgm:t>
    </dgm:pt>
    <dgm:pt modelId="{C1C79B77-8CCE-4505-98BA-0F64CA4C0CFB}" type="sibTrans" cxnId="{3D234702-AAB2-4217-AE43-E265929B73C9}">
      <dgm:prSet/>
      <dgm:spPr/>
      <dgm:t>
        <a:bodyPr/>
        <a:lstStyle/>
        <a:p>
          <a:endParaRPr lang="pt-BR"/>
        </a:p>
      </dgm:t>
    </dgm:pt>
    <dgm:pt modelId="{08D10DF2-E41C-4554-9490-D20DAA5BCA16}" type="pres">
      <dgm:prSet presAssocID="{CE9B43BC-DED4-47B9-B05B-4B89B04E6E37}" presName="linearFlow" presStyleCnt="0">
        <dgm:presLayoutVars>
          <dgm:dir/>
          <dgm:animLvl val="lvl"/>
          <dgm:resizeHandles val="exact"/>
        </dgm:presLayoutVars>
      </dgm:prSet>
      <dgm:spPr/>
    </dgm:pt>
    <dgm:pt modelId="{0889A8CF-3144-480F-AC57-DDBC04A66F08}" type="pres">
      <dgm:prSet presAssocID="{3224B9AC-0BEC-4558-B39C-5AB966D71F17}" presName="composite" presStyleCnt="0"/>
      <dgm:spPr/>
    </dgm:pt>
    <dgm:pt modelId="{927EF1DB-5741-493C-A6BC-323182493216}" type="pres">
      <dgm:prSet presAssocID="{3224B9AC-0BEC-4558-B39C-5AB966D71F17}" presName="parentText" presStyleLbl="alignNode1" presStyleIdx="0" presStyleCnt="5">
        <dgm:presLayoutVars>
          <dgm:chMax val="1"/>
          <dgm:bulletEnabled val="1"/>
        </dgm:presLayoutVars>
      </dgm:prSet>
      <dgm:spPr/>
    </dgm:pt>
    <dgm:pt modelId="{9AD83B76-4817-41CC-8ECA-1E5023005A3A}" type="pres">
      <dgm:prSet presAssocID="{3224B9AC-0BEC-4558-B39C-5AB966D71F17}" presName="descendantText" presStyleLbl="alignAcc1" presStyleIdx="0" presStyleCnt="5">
        <dgm:presLayoutVars>
          <dgm:bulletEnabled val="1"/>
        </dgm:presLayoutVars>
      </dgm:prSet>
      <dgm:spPr/>
    </dgm:pt>
    <dgm:pt modelId="{212CA65B-A4CB-4030-B0CC-6838AAC74967}" type="pres">
      <dgm:prSet presAssocID="{3F3EBE27-AB1B-4471-9163-E689ADDE648B}" presName="sp" presStyleCnt="0"/>
      <dgm:spPr/>
    </dgm:pt>
    <dgm:pt modelId="{EFCCC388-3CED-4880-8C97-052768DB1155}" type="pres">
      <dgm:prSet presAssocID="{78277A09-A206-4B79-9901-874018782C91}" presName="composite" presStyleCnt="0"/>
      <dgm:spPr/>
    </dgm:pt>
    <dgm:pt modelId="{6FE5D44E-8E86-49E4-9818-DB0B78F22557}" type="pres">
      <dgm:prSet presAssocID="{78277A09-A206-4B79-9901-874018782C91}" presName="parentText" presStyleLbl="alignNode1" presStyleIdx="1" presStyleCnt="5">
        <dgm:presLayoutVars>
          <dgm:chMax val="1"/>
          <dgm:bulletEnabled val="1"/>
        </dgm:presLayoutVars>
      </dgm:prSet>
      <dgm:spPr/>
    </dgm:pt>
    <dgm:pt modelId="{BE031E00-E29E-4738-BECA-1313BA3A534E}" type="pres">
      <dgm:prSet presAssocID="{78277A09-A206-4B79-9901-874018782C91}" presName="descendantText" presStyleLbl="alignAcc1" presStyleIdx="1" presStyleCnt="5">
        <dgm:presLayoutVars>
          <dgm:bulletEnabled val="1"/>
        </dgm:presLayoutVars>
      </dgm:prSet>
      <dgm:spPr/>
    </dgm:pt>
    <dgm:pt modelId="{160BEFF8-4B70-4D72-9E1A-E1B6C09F2A3C}" type="pres">
      <dgm:prSet presAssocID="{35BBE93D-66E3-4AB5-B59D-2C1A0519A8C5}" presName="sp" presStyleCnt="0"/>
      <dgm:spPr/>
    </dgm:pt>
    <dgm:pt modelId="{DB315CFE-FA70-406E-83B9-31AFE0E38AE0}" type="pres">
      <dgm:prSet presAssocID="{76BB05CB-1433-4A21-84C7-6DD4B97A5733}" presName="composite" presStyleCnt="0"/>
      <dgm:spPr/>
    </dgm:pt>
    <dgm:pt modelId="{F39598BF-DF1E-4FF3-BFC3-58232C62E808}" type="pres">
      <dgm:prSet presAssocID="{76BB05CB-1433-4A21-84C7-6DD4B97A5733}" presName="parentText" presStyleLbl="alignNode1" presStyleIdx="2" presStyleCnt="5">
        <dgm:presLayoutVars>
          <dgm:chMax val="1"/>
          <dgm:bulletEnabled val="1"/>
        </dgm:presLayoutVars>
      </dgm:prSet>
      <dgm:spPr/>
    </dgm:pt>
    <dgm:pt modelId="{A4F7F6DD-F011-428B-8567-C29DB8FA414A}" type="pres">
      <dgm:prSet presAssocID="{76BB05CB-1433-4A21-84C7-6DD4B97A5733}" presName="descendantText" presStyleLbl="alignAcc1" presStyleIdx="2" presStyleCnt="5">
        <dgm:presLayoutVars>
          <dgm:bulletEnabled val="1"/>
        </dgm:presLayoutVars>
      </dgm:prSet>
      <dgm:spPr/>
    </dgm:pt>
    <dgm:pt modelId="{42EA8D7E-219B-4274-A2A6-49D06100F8EC}" type="pres">
      <dgm:prSet presAssocID="{C42F9F4E-2E31-44FA-9A30-6FB791615C3A}" presName="sp" presStyleCnt="0"/>
      <dgm:spPr/>
    </dgm:pt>
    <dgm:pt modelId="{9CB8064A-EAD7-47B4-B1F2-1E5C76B95038}" type="pres">
      <dgm:prSet presAssocID="{FADA6794-27FA-4034-BFE3-204F633FEE91}" presName="composite" presStyleCnt="0"/>
      <dgm:spPr/>
    </dgm:pt>
    <dgm:pt modelId="{56552399-F447-4D7C-B9B0-786BAB0D0631}" type="pres">
      <dgm:prSet presAssocID="{FADA6794-27FA-4034-BFE3-204F633FEE91}" presName="parentText" presStyleLbl="alignNode1" presStyleIdx="3" presStyleCnt="5">
        <dgm:presLayoutVars>
          <dgm:chMax val="1"/>
          <dgm:bulletEnabled val="1"/>
        </dgm:presLayoutVars>
      </dgm:prSet>
      <dgm:spPr/>
    </dgm:pt>
    <dgm:pt modelId="{2626C307-1CBF-4595-A8DF-C10BC5834D7C}" type="pres">
      <dgm:prSet presAssocID="{FADA6794-27FA-4034-BFE3-204F633FEE91}" presName="descendantText" presStyleLbl="alignAcc1" presStyleIdx="3" presStyleCnt="5">
        <dgm:presLayoutVars>
          <dgm:bulletEnabled val="1"/>
        </dgm:presLayoutVars>
      </dgm:prSet>
      <dgm:spPr/>
    </dgm:pt>
    <dgm:pt modelId="{EE2B79B7-850B-4D57-82B2-46B374A27AF8}" type="pres">
      <dgm:prSet presAssocID="{C931B197-E2E4-474C-A0FA-93604996293A}" presName="sp" presStyleCnt="0"/>
      <dgm:spPr/>
    </dgm:pt>
    <dgm:pt modelId="{6699385C-ED71-4B3F-BC13-2E1AF7E4EFD5}" type="pres">
      <dgm:prSet presAssocID="{28E35EAD-1BD8-40AC-987C-26D76F37120C}" presName="composite" presStyleCnt="0"/>
      <dgm:spPr/>
    </dgm:pt>
    <dgm:pt modelId="{4A4793E4-9224-43DA-BADB-1DC06B0AB0F6}" type="pres">
      <dgm:prSet presAssocID="{28E35EAD-1BD8-40AC-987C-26D76F37120C}" presName="parentText" presStyleLbl="alignNode1" presStyleIdx="4" presStyleCnt="5">
        <dgm:presLayoutVars>
          <dgm:chMax val="1"/>
          <dgm:bulletEnabled val="1"/>
        </dgm:presLayoutVars>
      </dgm:prSet>
      <dgm:spPr/>
    </dgm:pt>
    <dgm:pt modelId="{F24C8376-C97C-4E1D-8FD7-715A8F57FC2A}" type="pres">
      <dgm:prSet presAssocID="{28E35EAD-1BD8-40AC-987C-26D76F37120C}" presName="descendantText" presStyleLbl="alignAcc1" presStyleIdx="4" presStyleCnt="5">
        <dgm:presLayoutVars>
          <dgm:bulletEnabled val="1"/>
        </dgm:presLayoutVars>
      </dgm:prSet>
      <dgm:spPr/>
    </dgm:pt>
  </dgm:ptLst>
  <dgm:cxnLst>
    <dgm:cxn modelId="{3D234702-AAB2-4217-AE43-E265929B73C9}" srcId="{28E35EAD-1BD8-40AC-987C-26D76F37120C}" destId="{976D0A3A-55BB-49C4-A22B-3677CDD7F0E2}" srcOrd="0" destOrd="0" parTransId="{C60A9B6C-4DA1-4FA5-A48D-B29A6EED674A}" sibTransId="{C1C79B77-8CCE-4505-98BA-0F64CA4C0CFB}"/>
    <dgm:cxn modelId="{223E920B-D22E-4DCD-886D-E9C0CEC431A8}" srcId="{CE9B43BC-DED4-47B9-B05B-4B89B04E6E37}" destId="{76BB05CB-1433-4A21-84C7-6DD4B97A5733}" srcOrd="2" destOrd="0" parTransId="{2B355450-76F8-4F65-BEA4-017CCE3F18E1}" sibTransId="{C42F9F4E-2E31-44FA-9A30-6FB791615C3A}"/>
    <dgm:cxn modelId="{ACFF3A0C-68DF-418B-8F61-81E91D025885}" type="presOf" srcId="{FADA6794-27FA-4034-BFE3-204F633FEE91}" destId="{56552399-F447-4D7C-B9B0-786BAB0D0631}" srcOrd="0" destOrd="0" presId="urn:microsoft.com/office/officeart/2005/8/layout/chevron2"/>
    <dgm:cxn modelId="{6FF3BD10-8280-4794-90C1-2433C7B102A2}" srcId="{78277A09-A206-4B79-9901-874018782C91}" destId="{34B09C95-5FE2-4532-916C-23989D03FB89}" srcOrd="0" destOrd="0" parTransId="{EA359620-8047-46F0-8F67-0C36D91F145E}" sibTransId="{9FF65BCE-36C4-4F5F-A1C3-8DF8FB551C0D}"/>
    <dgm:cxn modelId="{178C1819-464D-40B1-9509-4D4C86EC5323}" type="presOf" srcId="{CE9B43BC-DED4-47B9-B05B-4B89B04E6E37}" destId="{08D10DF2-E41C-4554-9490-D20DAA5BCA16}" srcOrd="0" destOrd="0" presId="urn:microsoft.com/office/officeart/2005/8/layout/chevron2"/>
    <dgm:cxn modelId="{CB8DD625-08F0-4AF7-8EFA-F3631133121A}" type="presOf" srcId="{78277A09-A206-4B79-9901-874018782C91}" destId="{6FE5D44E-8E86-49E4-9818-DB0B78F22557}" srcOrd="0" destOrd="0" presId="urn:microsoft.com/office/officeart/2005/8/layout/chevron2"/>
    <dgm:cxn modelId="{9D317634-F91E-4C0F-BEC9-B15C9E985898}" type="presOf" srcId="{34B09C95-5FE2-4532-916C-23989D03FB89}" destId="{BE031E00-E29E-4738-BECA-1313BA3A534E}" srcOrd="0" destOrd="0" presId="urn:microsoft.com/office/officeart/2005/8/layout/chevron2"/>
    <dgm:cxn modelId="{7B4C8D35-F101-4AB7-844B-5E7979E5E1C1}" type="presOf" srcId="{3F789AC0-8EB5-4B88-84B7-B9BA42D49DB0}" destId="{2626C307-1CBF-4595-A8DF-C10BC5834D7C}" srcOrd="0" destOrd="0" presId="urn:microsoft.com/office/officeart/2005/8/layout/chevron2"/>
    <dgm:cxn modelId="{464FA05C-E8E6-4EE1-958E-4D7F4ED84D64}" type="presOf" srcId="{3224B9AC-0BEC-4558-B39C-5AB966D71F17}" destId="{927EF1DB-5741-493C-A6BC-323182493216}" srcOrd="0" destOrd="0" presId="urn:microsoft.com/office/officeart/2005/8/layout/chevron2"/>
    <dgm:cxn modelId="{6EE8CF67-F2E2-4AF1-B6ED-417814E80D48}" type="presOf" srcId="{976D0A3A-55BB-49C4-A22B-3677CDD7F0E2}" destId="{F24C8376-C97C-4E1D-8FD7-715A8F57FC2A}" srcOrd="0" destOrd="0" presId="urn:microsoft.com/office/officeart/2005/8/layout/chevron2"/>
    <dgm:cxn modelId="{E3EDF56D-C5BA-4AAA-A8C4-32C6D39FAAB0}" type="presOf" srcId="{76BB05CB-1433-4A21-84C7-6DD4B97A5733}" destId="{F39598BF-DF1E-4FF3-BFC3-58232C62E808}" srcOrd="0" destOrd="0" presId="urn:microsoft.com/office/officeart/2005/8/layout/chevron2"/>
    <dgm:cxn modelId="{319AB74F-FE5A-46C2-AF15-DB4F3B073D7C}" type="presOf" srcId="{4EC3F407-E8DF-42A9-BF1E-A420022926DB}" destId="{9AD83B76-4817-41CC-8ECA-1E5023005A3A}" srcOrd="0" destOrd="0" presId="urn:microsoft.com/office/officeart/2005/8/layout/chevron2"/>
    <dgm:cxn modelId="{3F35A693-03B2-4369-ADE4-DAB1C6C0D1AE}" type="presOf" srcId="{B63E8AA4-48A8-4316-AAE5-A5C2FC0E40DD}" destId="{A4F7F6DD-F011-428B-8567-C29DB8FA414A}" srcOrd="0" destOrd="0" presId="urn:microsoft.com/office/officeart/2005/8/layout/chevron2"/>
    <dgm:cxn modelId="{CDF105A0-8CDB-4B55-8EE5-A56A76BF8FE6}" srcId="{CE9B43BC-DED4-47B9-B05B-4B89B04E6E37}" destId="{78277A09-A206-4B79-9901-874018782C91}" srcOrd="1" destOrd="0" parTransId="{DD427696-DD5D-41F6-881C-4D4CBBD75D26}" sibTransId="{35BBE93D-66E3-4AB5-B59D-2C1A0519A8C5}"/>
    <dgm:cxn modelId="{5AF1F8C1-AB68-4F22-BAFE-9C1004293C7E}" srcId="{CE9B43BC-DED4-47B9-B05B-4B89B04E6E37}" destId="{28E35EAD-1BD8-40AC-987C-26D76F37120C}" srcOrd="4" destOrd="0" parTransId="{93B63077-0785-4113-9296-DD4AF0C61268}" sibTransId="{B5AAB633-9B71-4275-98A5-99BF9890D745}"/>
    <dgm:cxn modelId="{05420FC5-9F12-4F79-B701-1FB26A1C4224}" srcId="{CE9B43BC-DED4-47B9-B05B-4B89B04E6E37}" destId="{3224B9AC-0BEC-4558-B39C-5AB966D71F17}" srcOrd="0" destOrd="0" parTransId="{F18EC743-29C4-4E9A-BC83-CDA9A14CB0C8}" sibTransId="{3F3EBE27-AB1B-4471-9163-E689ADDE648B}"/>
    <dgm:cxn modelId="{4DA72DCD-4428-465B-8AA2-FCD6F7C8B457}" srcId="{FADA6794-27FA-4034-BFE3-204F633FEE91}" destId="{3F789AC0-8EB5-4B88-84B7-B9BA42D49DB0}" srcOrd="0" destOrd="0" parTransId="{4774A1CF-E246-468A-AC78-137A4E3E0378}" sibTransId="{10C22EA9-E3C6-4801-A58E-698A4BA651C8}"/>
    <dgm:cxn modelId="{87E9E5D2-2727-459A-93E6-FA29B233AACD}" srcId="{3224B9AC-0BEC-4558-B39C-5AB966D71F17}" destId="{4EC3F407-E8DF-42A9-BF1E-A420022926DB}" srcOrd="0" destOrd="0" parTransId="{9EE3538C-DF13-4643-AFA4-551F05B0D027}" sibTransId="{F7192FB0-9F7D-4193-8D3E-60D0456D994D}"/>
    <dgm:cxn modelId="{57B47FD7-6679-4AB2-B01F-4CD614B9D5B3}" srcId="{CE9B43BC-DED4-47B9-B05B-4B89B04E6E37}" destId="{FADA6794-27FA-4034-BFE3-204F633FEE91}" srcOrd="3" destOrd="0" parTransId="{AC847452-882A-4273-8083-D339D9E1DD1E}" sibTransId="{C931B197-E2E4-474C-A0FA-93604996293A}"/>
    <dgm:cxn modelId="{3244B5E3-1DD0-46A7-8036-FAB1CE198012}" srcId="{76BB05CB-1433-4A21-84C7-6DD4B97A5733}" destId="{B63E8AA4-48A8-4316-AAE5-A5C2FC0E40DD}" srcOrd="0" destOrd="0" parTransId="{41BA7570-2FCF-4AF5-9E18-2F21B506FB83}" sibTransId="{05522541-AC20-4B33-9B5C-9CE69B299814}"/>
    <dgm:cxn modelId="{156DEDFA-C579-41ED-B252-B1C49BCCAFF0}" type="presOf" srcId="{28E35EAD-1BD8-40AC-987C-26D76F37120C}" destId="{4A4793E4-9224-43DA-BADB-1DC06B0AB0F6}" srcOrd="0" destOrd="0" presId="urn:microsoft.com/office/officeart/2005/8/layout/chevron2"/>
    <dgm:cxn modelId="{FD3851E5-62AD-4A65-9B98-31CDC7B57360}" type="presParOf" srcId="{08D10DF2-E41C-4554-9490-D20DAA5BCA16}" destId="{0889A8CF-3144-480F-AC57-DDBC04A66F08}" srcOrd="0" destOrd="0" presId="urn:microsoft.com/office/officeart/2005/8/layout/chevron2"/>
    <dgm:cxn modelId="{087FDF6C-86F6-4C1F-B078-4EFEC9EB7E07}" type="presParOf" srcId="{0889A8CF-3144-480F-AC57-DDBC04A66F08}" destId="{927EF1DB-5741-493C-A6BC-323182493216}" srcOrd="0" destOrd="0" presId="urn:microsoft.com/office/officeart/2005/8/layout/chevron2"/>
    <dgm:cxn modelId="{65F6BEEF-CD9E-489D-89FB-A35F9DB130BA}" type="presParOf" srcId="{0889A8CF-3144-480F-AC57-DDBC04A66F08}" destId="{9AD83B76-4817-41CC-8ECA-1E5023005A3A}" srcOrd="1" destOrd="0" presId="urn:microsoft.com/office/officeart/2005/8/layout/chevron2"/>
    <dgm:cxn modelId="{DEAF1765-0DCA-413B-B671-DC7DE61AAC44}" type="presParOf" srcId="{08D10DF2-E41C-4554-9490-D20DAA5BCA16}" destId="{212CA65B-A4CB-4030-B0CC-6838AAC74967}" srcOrd="1" destOrd="0" presId="urn:microsoft.com/office/officeart/2005/8/layout/chevron2"/>
    <dgm:cxn modelId="{7A3638AF-99B0-4A9A-9F52-81C0469C291F}" type="presParOf" srcId="{08D10DF2-E41C-4554-9490-D20DAA5BCA16}" destId="{EFCCC388-3CED-4880-8C97-052768DB1155}" srcOrd="2" destOrd="0" presId="urn:microsoft.com/office/officeart/2005/8/layout/chevron2"/>
    <dgm:cxn modelId="{D349EE49-5F26-4740-A87E-B10B3F062C12}" type="presParOf" srcId="{EFCCC388-3CED-4880-8C97-052768DB1155}" destId="{6FE5D44E-8E86-49E4-9818-DB0B78F22557}" srcOrd="0" destOrd="0" presId="urn:microsoft.com/office/officeart/2005/8/layout/chevron2"/>
    <dgm:cxn modelId="{9B5A73C0-1952-4F3A-94B6-2DCCD7125895}" type="presParOf" srcId="{EFCCC388-3CED-4880-8C97-052768DB1155}" destId="{BE031E00-E29E-4738-BECA-1313BA3A534E}" srcOrd="1" destOrd="0" presId="urn:microsoft.com/office/officeart/2005/8/layout/chevron2"/>
    <dgm:cxn modelId="{A0B870C0-031D-4641-AA67-B1A7DCB86596}" type="presParOf" srcId="{08D10DF2-E41C-4554-9490-D20DAA5BCA16}" destId="{160BEFF8-4B70-4D72-9E1A-E1B6C09F2A3C}" srcOrd="3" destOrd="0" presId="urn:microsoft.com/office/officeart/2005/8/layout/chevron2"/>
    <dgm:cxn modelId="{54C88AEF-7973-4BE7-B511-27EBF9E20025}" type="presParOf" srcId="{08D10DF2-E41C-4554-9490-D20DAA5BCA16}" destId="{DB315CFE-FA70-406E-83B9-31AFE0E38AE0}" srcOrd="4" destOrd="0" presId="urn:microsoft.com/office/officeart/2005/8/layout/chevron2"/>
    <dgm:cxn modelId="{4E96836A-712E-4373-91B4-9D833EBA56F2}" type="presParOf" srcId="{DB315CFE-FA70-406E-83B9-31AFE0E38AE0}" destId="{F39598BF-DF1E-4FF3-BFC3-58232C62E808}" srcOrd="0" destOrd="0" presId="urn:microsoft.com/office/officeart/2005/8/layout/chevron2"/>
    <dgm:cxn modelId="{50CF91EC-9D85-401B-8AFE-BA5960634C9F}" type="presParOf" srcId="{DB315CFE-FA70-406E-83B9-31AFE0E38AE0}" destId="{A4F7F6DD-F011-428B-8567-C29DB8FA414A}" srcOrd="1" destOrd="0" presId="urn:microsoft.com/office/officeart/2005/8/layout/chevron2"/>
    <dgm:cxn modelId="{7B285E4B-9B40-4732-A824-8D39FB5A5F3F}" type="presParOf" srcId="{08D10DF2-E41C-4554-9490-D20DAA5BCA16}" destId="{42EA8D7E-219B-4274-A2A6-49D06100F8EC}" srcOrd="5" destOrd="0" presId="urn:microsoft.com/office/officeart/2005/8/layout/chevron2"/>
    <dgm:cxn modelId="{A3037FD6-B93F-48E2-9023-F718A7DA2F75}" type="presParOf" srcId="{08D10DF2-E41C-4554-9490-D20DAA5BCA16}" destId="{9CB8064A-EAD7-47B4-B1F2-1E5C76B95038}" srcOrd="6" destOrd="0" presId="urn:microsoft.com/office/officeart/2005/8/layout/chevron2"/>
    <dgm:cxn modelId="{E77932D8-D051-41C6-A3BF-B08C7753862A}" type="presParOf" srcId="{9CB8064A-EAD7-47B4-B1F2-1E5C76B95038}" destId="{56552399-F447-4D7C-B9B0-786BAB0D0631}" srcOrd="0" destOrd="0" presId="urn:microsoft.com/office/officeart/2005/8/layout/chevron2"/>
    <dgm:cxn modelId="{E73483F4-C053-407F-8A63-A2D95B4F407B}" type="presParOf" srcId="{9CB8064A-EAD7-47B4-B1F2-1E5C76B95038}" destId="{2626C307-1CBF-4595-A8DF-C10BC5834D7C}" srcOrd="1" destOrd="0" presId="urn:microsoft.com/office/officeart/2005/8/layout/chevron2"/>
    <dgm:cxn modelId="{1B562181-8AEE-475F-9793-314B951B3E8E}" type="presParOf" srcId="{08D10DF2-E41C-4554-9490-D20DAA5BCA16}" destId="{EE2B79B7-850B-4D57-82B2-46B374A27AF8}" srcOrd="7" destOrd="0" presId="urn:microsoft.com/office/officeart/2005/8/layout/chevron2"/>
    <dgm:cxn modelId="{29668EAD-97B5-4727-A148-F1C6E0547FED}" type="presParOf" srcId="{08D10DF2-E41C-4554-9490-D20DAA5BCA16}" destId="{6699385C-ED71-4B3F-BC13-2E1AF7E4EFD5}" srcOrd="8" destOrd="0" presId="urn:microsoft.com/office/officeart/2005/8/layout/chevron2"/>
    <dgm:cxn modelId="{3858E364-7A9E-4126-8BA9-E0D2E7A060A2}" type="presParOf" srcId="{6699385C-ED71-4B3F-BC13-2E1AF7E4EFD5}" destId="{4A4793E4-9224-43DA-BADB-1DC06B0AB0F6}" srcOrd="0" destOrd="0" presId="urn:microsoft.com/office/officeart/2005/8/layout/chevron2"/>
    <dgm:cxn modelId="{E41F0B34-1089-455D-ABAC-BB9B92013DEF}" type="presParOf" srcId="{6699385C-ED71-4B3F-BC13-2E1AF7E4EFD5}" destId="{F24C8376-C97C-4E1D-8FD7-715A8F57FC2A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7EF1DB-5741-493C-A6BC-323182493216}">
      <dsp:nvSpPr>
        <dsp:cNvPr id="0" name=""/>
        <dsp:cNvSpPr/>
      </dsp:nvSpPr>
      <dsp:spPr>
        <a:xfrm rot="5400000">
          <a:off x="-176410" y="178091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1</a:t>
          </a:r>
        </a:p>
      </dsp:txBody>
      <dsp:txXfrm rot="-5400000">
        <a:off x="1" y="413307"/>
        <a:ext cx="823251" cy="352821"/>
      </dsp:txXfrm>
    </dsp:sp>
    <dsp:sp modelId="{9AD83B76-4817-41CC-8ECA-1E5023005A3A}">
      <dsp:nvSpPr>
        <dsp:cNvPr id="0" name=""/>
        <dsp:cNvSpPr/>
      </dsp:nvSpPr>
      <dsp:spPr>
        <a:xfrm rot="5400000">
          <a:off x="5599258" y="-4774327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chave privada de 2048 bits;</a:t>
          </a:r>
        </a:p>
      </dsp:txBody>
      <dsp:txXfrm rot="-5400000">
        <a:off x="823251" y="38997"/>
        <a:ext cx="10279145" cy="689813"/>
      </dsp:txXfrm>
    </dsp:sp>
    <dsp:sp modelId="{6FE5D44E-8E86-49E4-9818-DB0B78F22557}">
      <dsp:nvSpPr>
        <dsp:cNvPr id="0" name=""/>
        <dsp:cNvSpPr/>
      </dsp:nvSpPr>
      <dsp:spPr>
        <a:xfrm rot="5400000">
          <a:off x="-176410" y="1237899"/>
          <a:ext cx="1176072" cy="823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2</a:t>
          </a:r>
        </a:p>
      </dsp:txBody>
      <dsp:txXfrm rot="-5400000">
        <a:off x="1" y="1473115"/>
        <a:ext cx="823251" cy="352821"/>
      </dsp:txXfrm>
    </dsp:sp>
    <dsp:sp modelId="{BE031E00-E29E-4738-BECA-1313BA3A534E}">
      <dsp:nvSpPr>
        <dsp:cNvPr id="0" name=""/>
        <dsp:cNvSpPr/>
      </dsp:nvSpPr>
      <dsp:spPr>
        <a:xfrm rot="5400000">
          <a:off x="5599258" y="-3714519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um Certificado digital com formado X509, </a:t>
          </a:r>
          <a:r>
            <a:rPr lang="pt-BR" sz="2300" kern="1200" dirty="0" err="1"/>
            <a:t>autoassinado</a:t>
          </a:r>
          <a:r>
            <a:rPr lang="pt-BR" sz="2300" kern="1200" dirty="0"/>
            <a:t> com a chave privada gerada, e tamanho até 4KB;</a:t>
          </a:r>
        </a:p>
      </dsp:txBody>
      <dsp:txXfrm rot="-5400000">
        <a:off x="823251" y="1098805"/>
        <a:ext cx="10279145" cy="689813"/>
      </dsp:txXfrm>
    </dsp:sp>
    <dsp:sp modelId="{F39598BF-DF1E-4FF3-BFC3-58232C62E808}">
      <dsp:nvSpPr>
        <dsp:cNvPr id="0" name=""/>
        <dsp:cNvSpPr/>
      </dsp:nvSpPr>
      <dsp:spPr>
        <a:xfrm rot="5400000">
          <a:off x="-176410" y="2297707"/>
          <a:ext cx="1176072" cy="823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3</a:t>
          </a:r>
        </a:p>
      </dsp:txBody>
      <dsp:txXfrm rot="-5400000">
        <a:off x="1" y="2532923"/>
        <a:ext cx="823251" cy="352821"/>
      </dsp:txXfrm>
    </dsp:sp>
    <dsp:sp modelId="{A4F7F6DD-F011-428B-8567-C29DB8FA414A}">
      <dsp:nvSpPr>
        <dsp:cNvPr id="0" name=""/>
        <dsp:cNvSpPr/>
      </dsp:nvSpPr>
      <dsp:spPr>
        <a:xfrm rot="5400000">
          <a:off x="5599258" y="-2654710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Setup Salesforce: Importar Certificado,  Configurar usuário e perfil de integração, Configurações de sessão e politicas.</a:t>
          </a:r>
        </a:p>
      </dsp:txBody>
      <dsp:txXfrm rot="-5400000">
        <a:off x="823251" y="2158614"/>
        <a:ext cx="10279145" cy="689813"/>
      </dsp:txXfrm>
    </dsp:sp>
    <dsp:sp modelId="{56552399-F447-4D7C-B9B0-786BAB0D0631}">
      <dsp:nvSpPr>
        <dsp:cNvPr id="0" name=""/>
        <dsp:cNvSpPr/>
      </dsp:nvSpPr>
      <dsp:spPr>
        <a:xfrm rot="5400000">
          <a:off x="-176410" y="3357516"/>
          <a:ext cx="1176072" cy="823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4</a:t>
          </a:r>
        </a:p>
      </dsp:txBody>
      <dsp:txXfrm rot="-5400000">
        <a:off x="1" y="3592732"/>
        <a:ext cx="823251" cy="352821"/>
      </dsp:txXfrm>
    </dsp:sp>
    <dsp:sp modelId="{2626C307-1CBF-4595-A8DF-C10BC5834D7C}">
      <dsp:nvSpPr>
        <dsp:cNvPr id="0" name=""/>
        <dsp:cNvSpPr/>
      </dsp:nvSpPr>
      <dsp:spPr>
        <a:xfrm rot="5400000">
          <a:off x="5599258" y="-1594902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JWT com algoritmo de criptográfica RS256;</a:t>
          </a:r>
        </a:p>
      </dsp:txBody>
      <dsp:txXfrm rot="-5400000">
        <a:off x="823251" y="3218422"/>
        <a:ext cx="10279145" cy="689813"/>
      </dsp:txXfrm>
    </dsp:sp>
    <dsp:sp modelId="{4A4793E4-9224-43DA-BADB-1DC06B0AB0F6}">
      <dsp:nvSpPr>
        <dsp:cNvPr id="0" name=""/>
        <dsp:cNvSpPr/>
      </dsp:nvSpPr>
      <dsp:spPr>
        <a:xfrm rot="5400000">
          <a:off x="-176410" y="4417324"/>
          <a:ext cx="1176072" cy="823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5</a:t>
          </a:r>
        </a:p>
      </dsp:txBody>
      <dsp:txXfrm rot="-5400000">
        <a:off x="1" y="4652540"/>
        <a:ext cx="823251" cy="352821"/>
      </dsp:txXfrm>
    </dsp:sp>
    <dsp:sp modelId="{F24C8376-C97C-4E1D-8FD7-715A8F57FC2A}">
      <dsp:nvSpPr>
        <dsp:cNvPr id="0" name=""/>
        <dsp:cNvSpPr/>
      </dsp:nvSpPr>
      <dsp:spPr>
        <a:xfrm rot="5400000">
          <a:off x="5599258" y="-535093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Envio de requisição (Grant </a:t>
          </a:r>
          <a:r>
            <a:rPr lang="pt-BR" sz="2300" kern="1200" dirty="0" err="1"/>
            <a:t>type</a:t>
          </a:r>
          <a:r>
            <a:rPr lang="pt-BR" sz="2300" kern="1200" dirty="0"/>
            <a:t> + JWT)</a:t>
          </a:r>
        </a:p>
      </dsp:txBody>
      <dsp:txXfrm rot="-5400000">
        <a:off x="823251" y="4278231"/>
        <a:ext cx="10279145" cy="68981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7EF1DB-5741-493C-A6BC-323182493216}">
      <dsp:nvSpPr>
        <dsp:cNvPr id="0" name=""/>
        <dsp:cNvSpPr/>
      </dsp:nvSpPr>
      <dsp:spPr>
        <a:xfrm rot="5400000">
          <a:off x="-176410" y="178091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1</a:t>
          </a:r>
        </a:p>
      </dsp:txBody>
      <dsp:txXfrm rot="-5400000">
        <a:off x="1" y="413307"/>
        <a:ext cx="823251" cy="352821"/>
      </dsp:txXfrm>
    </dsp:sp>
    <dsp:sp modelId="{9AD83B76-4817-41CC-8ECA-1E5023005A3A}">
      <dsp:nvSpPr>
        <dsp:cNvPr id="0" name=""/>
        <dsp:cNvSpPr/>
      </dsp:nvSpPr>
      <dsp:spPr>
        <a:xfrm rot="5400000">
          <a:off x="5599258" y="-4774327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chave privada de 2048 bits;</a:t>
          </a:r>
        </a:p>
      </dsp:txBody>
      <dsp:txXfrm rot="-5400000">
        <a:off x="823251" y="38997"/>
        <a:ext cx="10279145" cy="689813"/>
      </dsp:txXfrm>
    </dsp:sp>
    <dsp:sp modelId="{6FE5D44E-8E86-49E4-9818-DB0B78F22557}">
      <dsp:nvSpPr>
        <dsp:cNvPr id="0" name=""/>
        <dsp:cNvSpPr/>
      </dsp:nvSpPr>
      <dsp:spPr>
        <a:xfrm rot="5400000">
          <a:off x="-176410" y="1237899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2</a:t>
          </a:r>
        </a:p>
      </dsp:txBody>
      <dsp:txXfrm rot="-5400000">
        <a:off x="1" y="1473115"/>
        <a:ext cx="823251" cy="352821"/>
      </dsp:txXfrm>
    </dsp:sp>
    <dsp:sp modelId="{BE031E00-E29E-4738-BECA-1313BA3A534E}">
      <dsp:nvSpPr>
        <dsp:cNvPr id="0" name=""/>
        <dsp:cNvSpPr/>
      </dsp:nvSpPr>
      <dsp:spPr>
        <a:xfrm rot="5400000">
          <a:off x="5599258" y="-3714519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um Certificado digital com formado X509, </a:t>
          </a:r>
          <a:r>
            <a:rPr lang="pt-BR" sz="2300" kern="1200" dirty="0" err="1"/>
            <a:t>autoassinado</a:t>
          </a:r>
          <a:r>
            <a:rPr lang="pt-BR" sz="2300" kern="1200" dirty="0"/>
            <a:t> com a chave privada gerada, e tamanho até 4KB;</a:t>
          </a:r>
        </a:p>
      </dsp:txBody>
      <dsp:txXfrm rot="-5400000">
        <a:off x="823251" y="1098805"/>
        <a:ext cx="10279145" cy="689813"/>
      </dsp:txXfrm>
    </dsp:sp>
    <dsp:sp modelId="{F39598BF-DF1E-4FF3-BFC3-58232C62E808}">
      <dsp:nvSpPr>
        <dsp:cNvPr id="0" name=""/>
        <dsp:cNvSpPr/>
      </dsp:nvSpPr>
      <dsp:spPr>
        <a:xfrm rot="5400000">
          <a:off x="-176410" y="2297707"/>
          <a:ext cx="1176072" cy="823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3</a:t>
          </a:r>
        </a:p>
      </dsp:txBody>
      <dsp:txXfrm rot="-5400000">
        <a:off x="1" y="2532923"/>
        <a:ext cx="823251" cy="352821"/>
      </dsp:txXfrm>
    </dsp:sp>
    <dsp:sp modelId="{A4F7F6DD-F011-428B-8567-C29DB8FA414A}">
      <dsp:nvSpPr>
        <dsp:cNvPr id="0" name=""/>
        <dsp:cNvSpPr/>
      </dsp:nvSpPr>
      <dsp:spPr>
        <a:xfrm rot="5400000">
          <a:off x="5599258" y="-2654710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Setup Salesforce: Importar Certificado,  Configurar usuário e perfil de integração, Configurações de sessão e politicas.</a:t>
          </a:r>
        </a:p>
      </dsp:txBody>
      <dsp:txXfrm rot="-5400000">
        <a:off x="823251" y="2158614"/>
        <a:ext cx="10279145" cy="689813"/>
      </dsp:txXfrm>
    </dsp:sp>
    <dsp:sp modelId="{56552399-F447-4D7C-B9B0-786BAB0D0631}">
      <dsp:nvSpPr>
        <dsp:cNvPr id="0" name=""/>
        <dsp:cNvSpPr/>
      </dsp:nvSpPr>
      <dsp:spPr>
        <a:xfrm rot="5400000">
          <a:off x="-176410" y="3357516"/>
          <a:ext cx="1176072" cy="823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4</a:t>
          </a:r>
        </a:p>
      </dsp:txBody>
      <dsp:txXfrm rot="-5400000">
        <a:off x="1" y="3592732"/>
        <a:ext cx="823251" cy="352821"/>
      </dsp:txXfrm>
    </dsp:sp>
    <dsp:sp modelId="{2626C307-1CBF-4595-A8DF-C10BC5834D7C}">
      <dsp:nvSpPr>
        <dsp:cNvPr id="0" name=""/>
        <dsp:cNvSpPr/>
      </dsp:nvSpPr>
      <dsp:spPr>
        <a:xfrm rot="5400000">
          <a:off x="5599258" y="-1594902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JWT com algoritmo de criptográfica RS256;</a:t>
          </a:r>
        </a:p>
      </dsp:txBody>
      <dsp:txXfrm rot="-5400000">
        <a:off x="823251" y="3218422"/>
        <a:ext cx="10279145" cy="689813"/>
      </dsp:txXfrm>
    </dsp:sp>
    <dsp:sp modelId="{4A4793E4-9224-43DA-BADB-1DC06B0AB0F6}">
      <dsp:nvSpPr>
        <dsp:cNvPr id="0" name=""/>
        <dsp:cNvSpPr/>
      </dsp:nvSpPr>
      <dsp:spPr>
        <a:xfrm rot="5400000">
          <a:off x="-176410" y="4417324"/>
          <a:ext cx="1176072" cy="823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5</a:t>
          </a:r>
        </a:p>
      </dsp:txBody>
      <dsp:txXfrm rot="-5400000">
        <a:off x="1" y="4652540"/>
        <a:ext cx="823251" cy="352821"/>
      </dsp:txXfrm>
    </dsp:sp>
    <dsp:sp modelId="{F24C8376-C97C-4E1D-8FD7-715A8F57FC2A}">
      <dsp:nvSpPr>
        <dsp:cNvPr id="0" name=""/>
        <dsp:cNvSpPr/>
      </dsp:nvSpPr>
      <dsp:spPr>
        <a:xfrm rot="5400000">
          <a:off x="5599258" y="-535093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Envio de requisição (Grant </a:t>
          </a:r>
          <a:r>
            <a:rPr lang="pt-BR" sz="2300" kern="1200" dirty="0" err="1"/>
            <a:t>type</a:t>
          </a:r>
          <a:r>
            <a:rPr lang="pt-BR" sz="2300" kern="1200" dirty="0"/>
            <a:t> + JWT)</a:t>
          </a:r>
        </a:p>
      </dsp:txBody>
      <dsp:txXfrm rot="-5400000">
        <a:off x="823251" y="4278231"/>
        <a:ext cx="10279145" cy="6898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7EF1DB-5741-493C-A6BC-323182493216}">
      <dsp:nvSpPr>
        <dsp:cNvPr id="0" name=""/>
        <dsp:cNvSpPr/>
      </dsp:nvSpPr>
      <dsp:spPr>
        <a:xfrm rot="5400000">
          <a:off x="-176410" y="178091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1</a:t>
          </a:r>
        </a:p>
      </dsp:txBody>
      <dsp:txXfrm rot="-5400000">
        <a:off x="1" y="413307"/>
        <a:ext cx="823251" cy="352821"/>
      </dsp:txXfrm>
    </dsp:sp>
    <dsp:sp modelId="{9AD83B76-4817-41CC-8ECA-1E5023005A3A}">
      <dsp:nvSpPr>
        <dsp:cNvPr id="0" name=""/>
        <dsp:cNvSpPr/>
      </dsp:nvSpPr>
      <dsp:spPr>
        <a:xfrm rot="5400000">
          <a:off x="5599258" y="-4774327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chave privada de 2048 bits;</a:t>
          </a:r>
        </a:p>
      </dsp:txBody>
      <dsp:txXfrm rot="-5400000">
        <a:off x="823251" y="38997"/>
        <a:ext cx="10279145" cy="689813"/>
      </dsp:txXfrm>
    </dsp:sp>
    <dsp:sp modelId="{6FE5D44E-8E86-49E4-9818-DB0B78F22557}">
      <dsp:nvSpPr>
        <dsp:cNvPr id="0" name=""/>
        <dsp:cNvSpPr/>
      </dsp:nvSpPr>
      <dsp:spPr>
        <a:xfrm rot="5400000">
          <a:off x="-176410" y="1237899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2</a:t>
          </a:r>
        </a:p>
      </dsp:txBody>
      <dsp:txXfrm rot="-5400000">
        <a:off x="1" y="1473115"/>
        <a:ext cx="823251" cy="352821"/>
      </dsp:txXfrm>
    </dsp:sp>
    <dsp:sp modelId="{BE031E00-E29E-4738-BECA-1313BA3A534E}">
      <dsp:nvSpPr>
        <dsp:cNvPr id="0" name=""/>
        <dsp:cNvSpPr/>
      </dsp:nvSpPr>
      <dsp:spPr>
        <a:xfrm rot="5400000">
          <a:off x="5599258" y="-3714519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um Certificado digital com formado X509, </a:t>
          </a:r>
          <a:r>
            <a:rPr lang="pt-BR" sz="2300" kern="1200" dirty="0" err="1"/>
            <a:t>autoassinado</a:t>
          </a:r>
          <a:r>
            <a:rPr lang="pt-BR" sz="2300" kern="1200" dirty="0"/>
            <a:t> com a chave privada gerada, e tamanho até 4KB;</a:t>
          </a:r>
        </a:p>
      </dsp:txBody>
      <dsp:txXfrm rot="-5400000">
        <a:off x="823251" y="1098805"/>
        <a:ext cx="10279145" cy="689813"/>
      </dsp:txXfrm>
    </dsp:sp>
    <dsp:sp modelId="{F39598BF-DF1E-4FF3-BFC3-58232C62E808}">
      <dsp:nvSpPr>
        <dsp:cNvPr id="0" name=""/>
        <dsp:cNvSpPr/>
      </dsp:nvSpPr>
      <dsp:spPr>
        <a:xfrm rot="5400000">
          <a:off x="-176410" y="2297707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3</a:t>
          </a:r>
        </a:p>
      </dsp:txBody>
      <dsp:txXfrm rot="-5400000">
        <a:off x="1" y="2532923"/>
        <a:ext cx="823251" cy="352821"/>
      </dsp:txXfrm>
    </dsp:sp>
    <dsp:sp modelId="{A4F7F6DD-F011-428B-8567-C29DB8FA414A}">
      <dsp:nvSpPr>
        <dsp:cNvPr id="0" name=""/>
        <dsp:cNvSpPr/>
      </dsp:nvSpPr>
      <dsp:spPr>
        <a:xfrm rot="5400000">
          <a:off x="5599258" y="-2654710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Setup Salesforce: Importar Certificado,  Configurar usuário e perfil de integração, Configurações de sessão e politicas.</a:t>
          </a:r>
        </a:p>
      </dsp:txBody>
      <dsp:txXfrm rot="-5400000">
        <a:off x="823251" y="2158614"/>
        <a:ext cx="10279145" cy="689813"/>
      </dsp:txXfrm>
    </dsp:sp>
    <dsp:sp modelId="{56552399-F447-4D7C-B9B0-786BAB0D0631}">
      <dsp:nvSpPr>
        <dsp:cNvPr id="0" name=""/>
        <dsp:cNvSpPr/>
      </dsp:nvSpPr>
      <dsp:spPr>
        <a:xfrm rot="5400000">
          <a:off x="-176410" y="3357516"/>
          <a:ext cx="1176072" cy="823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4</a:t>
          </a:r>
        </a:p>
      </dsp:txBody>
      <dsp:txXfrm rot="-5400000">
        <a:off x="1" y="3592732"/>
        <a:ext cx="823251" cy="352821"/>
      </dsp:txXfrm>
    </dsp:sp>
    <dsp:sp modelId="{2626C307-1CBF-4595-A8DF-C10BC5834D7C}">
      <dsp:nvSpPr>
        <dsp:cNvPr id="0" name=""/>
        <dsp:cNvSpPr/>
      </dsp:nvSpPr>
      <dsp:spPr>
        <a:xfrm rot="5400000">
          <a:off x="5599258" y="-1594902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JWT com algoritmo de criptográfica RS256;</a:t>
          </a:r>
        </a:p>
      </dsp:txBody>
      <dsp:txXfrm rot="-5400000">
        <a:off x="823251" y="3218422"/>
        <a:ext cx="10279145" cy="689813"/>
      </dsp:txXfrm>
    </dsp:sp>
    <dsp:sp modelId="{4A4793E4-9224-43DA-BADB-1DC06B0AB0F6}">
      <dsp:nvSpPr>
        <dsp:cNvPr id="0" name=""/>
        <dsp:cNvSpPr/>
      </dsp:nvSpPr>
      <dsp:spPr>
        <a:xfrm rot="5400000">
          <a:off x="-176410" y="4417324"/>
          <a:ext cx="1176072" cy="823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5</a:t>
          </a:r>
        </a:p>
      </dsp:txBody>
      <dsp:txXfrm rot="-5400000">
        <a:off x="1" y="4652540"/>
        <a:ext cx="823251" cy="352821"/>
      </dsp:txXfrm>
    </dsp:sp>
    <dsp:sp modelId="{F24C8376-C97C-4E1D-8FD7-715A8F57FC2A}">
      <dsp:nvSpPr>
        <dsp:cNvPr id="0" name=""/>
        <dsp:cNvSpPr/>
      </dsp:nvSpPr>
      <dsp:spPr>
        <a:xfrm rot="5400000">
          <a:off x="5599258" y="-535093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Envio de requisição (Grant </a:t>
          </a:r>
          <a:r>
            <a:rPr lang="pt-BR" sz="2300" kern="1200" dirty="0" err="1"/>
            <a:t>type</a:t>
          </a:r>
          <a:r>
            <a:rPr lang="pt-BR" sz="2300" kern="1200" dirty="0"/>
            <a:t> + JWT)</a:t>
          </a:r>
        </a:p>
      </dsp:txBody>
      <dsp:txXfrm rot="-5400000">
        <a:off x="823251" y="4278231"/>
        <a:ext cx="10279145" cy="68981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7EF1DB-5741-493C-A6BC-323182493216}">
      <dsp:nvSpPr>
        <dsp:cNvPr id="0" name=""/>
        <dsp:cNvSpPr/>
      </dsp:nvSpPr>
      <dsp:spPr>
        <a:xfrm rot="5400000">
          <a:off x="-176410" y="178091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1</a:t>
          </a:r>
        </a:p>
      </dsp:txBody>
      <dsp:txXfrm rot="-5400000">
        <a:off x="1" y="413307"/>
        <a:ext cx="823251" cy="352821"/>
      </dsp:txXfrm>
    </dsp:sp>
    <dsp:sp modelId="{9AD83B76-4817-41CC-8ECA-1E5023005A3A}">
      <dsp:nvSpPr>
        <dsp:cNvPr id="0" name=""/>
        <dsp:cNvSpPr/>
      </dsp:nvSpPr>
      <dsp:spPr>
        <a:xfrm rot="5400000">
          <a:off x="5599258" y="-4774327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chave privada de 2048 bits;</a:t>
          </a:r>
        </a:p>
      </dsp:txBody>
      <dsp:txXfrm rot="-5400000">
        <a:off x="823251" y="38997"/>
        <a:ext cx="10279145" cy="689813"/>
      </dsp:txXfrm>
    </dsp:sp>
    <dsp:sp modelId="{6FE5D44E-8E86-49E4-9818-DB0B78F22557}">
      <dsp:nvSpPr>
        <dsp:cNvPr id="0" name=""/>
        <dsp:cNvSpPr/>
      </dsp:nvSpPr>
      <dsp:spPr>
        <a:xfrm rot="5400000">
          <a:off x="-176410" y="1237899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2</a:t>
          </a:r>
        </a:p>
      </dsp:txBody>
      <dsp:txXfrm rot="-5400000">
        <a:off x="1" y="1473115"/>
        <a:ext cx="823251" cy="352821"/>
      </dsp:txXfrm>
    </dsp:sp>
    <dsp:sp modelId="{BE031E00-E29E-4738-BECA-1313BA3A534E}">
      <dsp:nvSpPr>
        <dsp:cNvPr id="0" name=""/>
        <dsp:cNvSpPr/>
      </dsp:nvSpPr>
      <dsp:spPr>
        <a:xfrm rot="5400000">
          <a:off x="5599258" y="-3714519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um Certificado digital com formado X509, </a:t>
          </a:r>
          <a:r>
            <a:rPr lang="pt-BR" sz="2300" kern="1200" dirty="0" err="1"/>
            <a:t>autoassinado</a:t>
          </a:r>
          <a:r>
            <a:rPr lang="pt-BR" sz="2300" kern="1200" dirty="0"/>
            <a:t> com a chave privada gerada, e tamanho até 4KB;</a:t>
          </a:r>
        </a:p>
      </dsp:txBody>
      <dsp:txXfrm rot="-5400000">
        <a:off x="823251" y="1098805"/>
        <a:ext cx="10279145" cy="689813"/>
      </dsp:txXfrm>
    </dsp:sp>
    <dsp:sp modelId="{F39598BF-DF1E-4FF3-BFC3-58232C62E808}">
      <dsp:nvSpPr>
        <dsp:cNvPr id="0" name=""/>
        <dsp:cNvSpPr/>
      </dsp:nvSpPr>
      <dsp:spPr>
        <a:xfrm rot="5400000">
          <a:off x="-176410" y="2297707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3</a:t>
          </a:r>
        </a:p>
      </dsp:txBody>
      <dsp:txXfrm rot="-5400000">
        <a:off x="1" y="2532923"/>
        <a:ext cx="823251" cy="352821"/>
      </dsp:txXfrm>
    </dsp:sp>
    <dsp:sp modelId="{A4F7F6DD-F011-428B-8567-C29DB8FA414A}">
      <dsp:nvSpPr>
        <dsp:cNvPr id="0" name=""/>
        <dsp:cNvSpPr/>
      </dsp:nvSpPr>
      <dsp:spPr>
        <a:xfrm rot="5400000">
          <a:off x="5599258" y="-2654710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Setup Salesforce: Importar Certificado,  Configurar usuário e perfil de integração, Configurações de sessão e politicas.</a:t>
          </a:r>
        </a:p>
      </dsp:txBody>
      <dsp:txXfrm rot="-5400000">
        <a:off x="823251" y="2158614"/>
        <a:ext cx="10279145" cy="689813"/>
      </dsp:txXfrm>
    </dsp:sp>
    <dsp:sp modelId="{56552399-F447-4D7C-B9B0-786BAB0D0631}">
      <dsp:nvSpPr>
        <dsp:cNvPr id="0" name=""/>
        <dsp:cNvSpPr/>
      </dsp:nvSpPr>
      <dsp:spPr>
        <a:xfrm rot="5400000">
          <a:off x="-176410" y="3357516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4</a:t>
          </a:r>
        </a:p>
      </dsp:txBody>
      <dsp:txXfrm rot="-5400000">
        <a:off x="1" y="3592732"/>
        <a:ext cx="823251" cy="352821"/>
      </dsp:txXfrm>
    </dsp:sp>
    <dsp:sp modelId="{2626C307-1CBF-4595-A8DF-C10BC5834D7C}">
      <dsp:nvSpPr>
        <dsp:cNvPr id="0" name=""/>
        <dsp:cNvSpPr/>
      </dsp:nvSpPr>
      <dsp:spPr>
        <a:xfrm rot="5400000">
          <a:off x="5599258" y="-1594902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JWT com algoritmo de criptográfica RS256;</a:t>
          </a:r>
        </a:p>
      </dsp:txBody>
      <dsp:txXfrm rot="-5400000">
        <a:off x="823251" y="3218422"/>
        <a:ext cx="10279145" cy="689813"/>
      </dsp:txXfrm>
    </dsp:sp>
    <dsp:sp modelId="{4A4793E4-9224-43DA-BADB-1DC06B0AB0F6}">
      <dsp:nvSpPr>
        <dsp:cNvPr id="0" name=""/>
        <dsp:cNvSpPr/>
      </dsp:nvSpPr>
      <dsp:spPr>
        <a:xfrm rot="5400000">
          <a:off x="-176410" y="4417324"/>
          <a:ext cx="1176072" cy="823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5</a:t>
          </a:r>
        </a:p>
      </dsp:txBody>
      <dsp:txXfrm rot="-5400000">
        <a:off x="1" y="4652540"/>
        <a:ext cx="823251" cy="352821"/>
      </dsp:txXfrm>
    </dsp:sp>
    <dsp:sp modelId="{F24C8376-C97C-4E1D-8FD7-715A8F57FC2A}">
      <dsp:nvSpPr>
        <dsp:cNvPr id="0" name=""/>
        <dsp:cNvSpPr/>
      </dsp:nvSpPr>
      <dsp:spPr>
        <a:xfrm rot="5400000">
          <a:off x="5599258" y="-535093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Envio de requisição (Grant </a:t>
          </a:r>
          <a:r>
            <a:rPr lang="pt-BR" sz="2300" kern="1200" dirty="0" err="1"/>
            <a:t>type</a:t>
          </a:r>
          <a:r>
            <a:rPr lang="pt-BR" sz="2300" kern="1200" dirty="0"/>
            <a:t> + JWT)</a:t>
          </a:r>
        </a:p>
      </dsp:txBody>
      <dsp:txXfrm rot="-5400000">
        <a:off x="823251" y="4278231"/>
        <a:ext cx="10279145" cy="68981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552399-F447-4D7C-B9B0-786BAB0D0631}">
      <dsp:nvSpPr>
        <dsp:cNvPr id="0" name=""/>
        <dsp:cNvSpPr/>
      </dsp:nvSpPr>
      <dsp:spPr>
        <a:xfrm rot="5400000">
          <a:off x="-115188" y="115939"/>
          <a:ext cx="767925" cy="537548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4</a:t>
          </a:r>
        </a:p>
      </dsp:txBody>
      <dsp:txXfrm rot="-5400000">
        <a:off x="1" y="269524"/>
        <a:ext cx="537548" cy="230377"/>
      </dsp:txXfrm>
    </dsp:sp>
    <dsp:sp modelId="{2626C307-1CBF-4595-A8DF-C10BC5834D7C}">
      <dsp:nvSpPr>
        <dsp:cNvPr id="0" name=""/>
        <dsp:cNvSpPr/>
      </dsp:nvSpPr>
      <dsp:spPr>
        <a:xfrm rot="5400000">
          <a:off x="5588923" y="-5051375"/>
          <a:ext cx="499414" cy="1060216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900" kern="1200" dirty="0"/>
            <a:t>Gerar JWT com algoritmo de criptográfica RS256;</a:t>
          </a:r>
        </a:p>
      </dsp:txBody>
      <dsp:txXfrm rot="-5400000">
        <a:off x="537548" y="24379"/>
        <a:ext cx="10577786" cy="45065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552399-F447-4D7C-B9B0-786BAB0D0631}">
      <dsp:nvSpPr>
        <dsp:cNvPr id="0" name=""/>
        <dsp:cNvSpPr/>
      </dsp:nvSpPr>
      <dsp:spPr>
        <a:xfrm rot="5400000">
          <a:off x="-115188" y="115939"/>
          <a:ext cx="767925" cy="537548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4</a:t>
          </a:r>
        </a:p>
      </dsp:txBody>
      <dsp:txXfrm rot="-5400000">
        <a:off x="1" y="269524"/>
        <a:ext cx="537548" cy="230377"/>
      </dsp:txXfrm>
    </dsp:sp>
    <dsp:sp modelId="{2626C307-1CBF-4595-A8DF-C10BC5834D7C}">
      <dsp:nvSpPr>
        <dsp:cNvPr id="0" name=""/>
        <dsp:cNvSpPr/>
      </dsp:nvSpPr>
      <dsp:spPr>
        <a:xfrm rot="5400000">
          <a:off x="5588923" y="-5051375"/>
          <a:ext cx="499414" cy="1060216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900" kern="1200" dirty="0"/>
            <a:t>Gerar JWT com algoritmo de criptográfica RS256;</a:t>
          </a:r>
        </a:p>
      </dsp:txBody>
      <dsp:txXfrm rot="-5400000">
        <a:off x="537548" y="24379"/>
        <a:ext cx="10577786" cy="45065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7EF1DB-5741-493C-A6BC-323182493216}">
      <dsp:nvSpPr>
        <dsp:cNvPr id="0" name=""/>
        <dsp:cNvSpPr/>
      </dsp:nvSpPr>
      <dsp:spPr>
        <a:xfrm rot="5400000">
          <a:off x="-176410" y="178091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1</a:t>
          </a:r>
        </a:p>
      </dsp:txBody>
      <dsp:txXfrm rot="-5400000">
        <a:off x="1" y="413307"/>
        <a:ext cx="823251" cy="352821"/>
      </dsp:txXfrm>
    </dsp:sp>
    <dsp:sp modelId="{9AD83B76-4817-41CC-8ECA-1E5023005A3A}">
      <dsp:nvSpPr>
        <dsp:cNvPr id="0" name=""/>
        <dsp:cNvSpPr/>
      </dsp:nvSpPr>
      <dsp:spPr>
        <a:xfrm rot="5400000">
          <a:off x="5599258" y="-4774327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chave privada de 2048 bits;</a:t>
          </a:r>
        </a:p>
      </dsp:txBody>
      <dsp:txXfrm rot="-5400000">
        <a:off x="823251" y="38997"/>
        <a:ext cx="10279145" cy="689813"/>
      </dsp:txXfrm>
    </dsp:sp>
    <dsp:sp modelId="{6FE5D44E-8E86-49E4-9818-DB0B78F22557}">
      <dsp:nvSpPr>
        <dsp:cNvPr id="0" name=""/>
        <dsp:cNvSpPr/>
      </dsp:nvSpPr>
      <dsp:spPr>
        <a:xfrm rot="5400000">
          <a:off x="-176410" y="1237899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2</a:t>
          </a:r>
        </a:p>
      </dsp:txBody>
      <dsp:txXfrm rot="-5400000">
        <a:off x="1" y="1473115"/>
        <a:ext cx="823251" cy="352821"/>
      </dsp:txXfrm>
    </dsp:sp>
    <dsp:sp modelId="{BE031E00-E29E-4738-BECA-1313BA3A534E}">
      <dsp:nvSpPr>
        <dsp:cNvPr id="0" name=""/>
        <dsp:cNvSpPr/>
      </dsp:nvSpPr>
      <dsp:spPr>
        <a:xfrm rot="5400000">
          <a:off x="5599258" y="-3714519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um Certificado digital com formado X509, </a:t>
          </a:r>
          <a:r>
            <a:rPr lang="pt-BR" sz="2300" kern="1200" dirty="0" err="1"/>
            <a:t>autoassinado</a:t>
          </a:r>
          <a:r>
            <a:rPr lang="pt-BR" sz="2300" kern="1200" dirty="0"/>
            <a:t> com a chave privada gerada, e tamanho até 4KB;</a:t>
          </a:r>
        </a:p>
      </dsp:txBody>
      <dsp:txXfrm rot="-5400000">
        <a:off x="823251" y="1098805"/>
        <a:ext cx="10279145" cy="689813"/>
      </dsp:txXfrm>
    </dsp:sp>
    <dsp:sp modelId="{F39598BF-DF1E-4FF3-BFC3-58232C62E808}">
      <dsp:nvSpPr>
        <dsp:cNvPr id="0" name=""/>
        <dsp:cNvSpPr/>
      </dsp:nvSpPr>
      <dsp:spPr>
        <a:xfrm rot="5400000">
          <a:off x="-176410" y="2297707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3</a:t>
          </a:r>
        </a:p>
      </dsp:txBody>
      <dsp:txXfrm rot="-5400000">
        <a:off x="1" y="2532923"/>
        <a:ext cx="823251" cy="352821"/>
      </dsp:txXfrm>
    </dsp:sp>
    <dsp:sp modelId="{A4F7F6DD-F011-428B-8567-C29DB8FA414A}">
      <dsp:nvSpPr>
        <dsp:cNvPr id="0" name=""/>
        <dsp:cNvSpPr/>
      </dsp:nvSpPr>
      <dsp:spPr>
        <a:xfrm rot="5400000">
          <a:off x="5599258" y="-2654710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Setup Salesforce: Importar Certificado,  Configurar usuário e perfil de integração, Configurações de sessão e politicas.</a:t>
          </a:r>
        </a:p>
      </dsp:txBody>
      <dsp:txXfrm rot="-5400000">
        <a:off x="823251" y="2158614"/>
        <a:ext cx="10279145" cy="689813"/>
      </dsp:txXfrm>
    </dsp:sp>
    <dsp:sp modelId="{56552399-F447-4D7C-B9B0-786BAB0D0631}">
      <dsp:nvSpPr>
        <dsp:cNvPr id="0" name=""/>
        <dsp:cNvSpPr/>
      </dsp:nvSpPr>
      <dsp:spPr>
        <a:xfrm rot="5400000">
          <a:off x="-176410" y="3357516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4</a:t>
          </a:r>
        </a:p>
      </dsp:txBody>
      <dsp:txXfrm rot="-5400000">
        <a:off x="1" y="3592732"/>
        <a:ext cx="823251" cy="352821"/>
      </dsp:txXfrm>
    </dsp:sp>
    <dsp:sp modelId="{2626C307-1CBF-4595-A8DF-C10BC5834D7C}">
      <dsp:nvSpPr>
        <dsp:cNvPr id="0" name=""/>
        <dsp:cNvSpPr/>
      </dsp:nvSpPr>
      <dsp:spPr>
        <a:xfrm rot="5400000">
          <a:off x="5599258" y="-1594902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Gerar JWT com algoritmo de criptográfica RS256;</a:t>
          </a:r>
        </a:p>
      </dsp:txBody>
      <dsp:txXfrm rot="-5400000">
        <a:off x="823251" y="3218422"/>
        <a:ext cx="10279145" cy="689813"/>
      </dsp:txXfrm>
    </dsp:sp>
    <dsp:sp modelId="{4A4793E4-9224-43DA-BADB-1DC06B0AB0F6}">
      <dsp:nvSpPr>
        <dsp:cNvPr id="0" name=""/>
        <dsp:cNvSpPr/>
      </dsp:nvSpPr>
      <dsp:spPr>
        <a:xfrm rot="5400000">
          <a:off x="-176410" y="4417324"/>
          <a:ext cx="1176072" cy="823251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5</a:t>
          </a:r>
        </a:p>
      </dsp:txBody>
      <dsp:txXfrm rot="-5400000">
        <a:off x="1" y="4652540"/>
        <a:ext cx="823251" cy="352821"/>
      </dsp:txXfrm>
    </dsp:sp>
    <dsp:sp modelId="{F24C8376-C97C-4E1D-8FD7-715A8F57FC2A}">
      <dsp:nvSpPr>
        <dsp:cNvPr id="0" name=""/>
        <dsp:cNvSpPr/>
      </dsp:nvSpPr>
      <dsp:spPr>
        <a:xfrm rot="5400000">
          <a:off x="5599258" y="-535093"/>
          <a:ext cx="764447" cy="10316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4605" rIns="14605" bIns="1460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300" kern="1200" dirty="0"/>
            <a:t>Envio de requisição (Grant </a:t>
          </a:r>
          <a:r>
            <a:rPr lang="pt-BR" sz="2300" kern="1200" dirty="0" err="1"/>
            <a:t>type</a:t>
          </a:r>
          <a:r>
            <a:rPr lang="pt-BR" sz="2300" kern="1200" dirty="0"/>
            <a:t> + JWT)</a:t>
          </a:r>
        </a:p>
      </dsp:txBody>
      <dsp:txXfrm rot="-5400000">
        <a:off x="823251" y="4278231"/>
        <a:ext cx="10279145" cy="6898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275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 rtl="0">
              <a:defRPr sz="13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1698" y="0"/>
            <a:ext cx="2984871" cy="50275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 rtl="0">
              <a:defRPr sz="1300"/>
            </a:lvl1pPr>
          </a:lstStyle>
          <a:p>
            <a:fld id="{716DE8D5-F859-4573-9207-8FC9665FD3D3}" type="datetimeFigureOut">
              <a:rPr lang="pt-BR" smtClean="0"/>
              <a:pPr/>
              <a:t>12/09/2022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6" tIns="48308" rIns="96616" bIns="48308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817" y="4822269"/>
            <a:ext cx="5510530" cy="3945493"/>
          </a:xfrm>
          <a:prstGeom prst="rect">
            <a:avLst/>
          </a:prstGeom>
        </p:spPr>
        <p:txBody>
          <a:bodyPr vert="horz" lIns="96616" tIns="48308" rIns="96616" bIns="48308" rtlCol="0"/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7547"/>
            <a:ext cx="2984871" cy="50275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 rtl="0">
              <a:defRPr sz="13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1698" y="9517547"/>
            <a:ext cx="2984871" cy="50275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 rtl="0">
              <a:defRPr sz="1300"/>
            </a:lvl1pPr>
          </a:lstStyle>
          <a:p>
            <a:fld id="{49F8A31A-6B56-481A-A6E2-F17AA0E45583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18982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F8A31A-6B56-481A-A6E2-F17AA0E45583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00982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844235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55547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Gerar o JWT criptografado e envio da requisição fica do lado de quem vai solicitar o tok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04808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155">
              <a:defRPr/>
            </a:pPr>
            <a:fld id="{AC157E0A-F321-48DC-AF94-681D4DCF344D}" type="slidenum">
              <a:rPr lang="pt-BR">
                <a:solidFill>
                  <a:prstClr val="black"/>
                </a:solidFill>
                <a:latin typeface="Calibri" panose="020F0502020204030204"/>
              </a:rPr>
              <a:pPr defTabSz="966155">
                <a:defRPr/>
              </a:pPr>
              <a:t>13</a:t>
            </a:fld>
            <a:endParaRPr lang="pt-B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186579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01003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Padrões de integração, falando das possíveis autenticações que existe, e do porque JWT é a única viável que a gente enxerga;</a:t>
            </a:r>
          </a:p>
          <a:p>
            <a:r>
              <a:rPr lang="pt-BR" dirty="0"/>
              <a:t>Aprofundar um pouco no padrão JWT mostrando funcionamento por um diagrama de sequencia,</a:t>
            </a:r>
          </a:p>
          <a:p>
            <a:r>
              <a:rPr lang="pt-BR" dirty="0"/>
              <a:t>Falar das particularidades e requisitos pra esse tipo de autenticação</a:t>
            </a:r>
          </a:p>
          <a:p>
            <a:r>
              <a:rPr lang="pt-BR" dirty="0"/>
              <a:t>Mostrar o funcionamento</a:t>
            </a:r>
          </a:p>
          <a:p>
            <a:r>
              <a:rPr lang="pt-BR" dirty="0"/>
              <a:t>Como referencia uma documentação pra consulta posteri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42850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Salesforce seja qual for a integração necessária vai requerer uma autenticação, isso porque dentro do modelo de segurança da plataforma, é necessário ter certas rastreabilidades (Quem fez, quando fez, o que fez);</a:t>
            </a:r>
          </a:p>
          <a:p>
            <a:endParaRPr lang="pt-BR" dirty="0"/>
          </a:p>
          <a:p>
            <a:r>
              <a:rPr lang="pt-BR" dirty="0"/>
              <a:t>SAML – Provedor se Serviços (Agendamento, Cadastrados, tudo que é feito)</a:t>
            </a:r>
          </a:p>
          <a:p>
            <a:r>
              <a:rPr lang="pt-BR" dirty="0"/>
              <a:t>SAML – Provedor de Identida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472652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93448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24733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50509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Flexiblidade</a:t>
            </a:r>
            <a:r>
              <a:rPr lang="pt-BR" dirty="0"/>
              <a:t> de IPS</a:t>
            </a:r>
          </a:p>
          <a:p>
            <a:r>
              <a:rPr lang="pt-BR" dirty="0"/>
              <a:t>Tempo de Sessão</a:t>
            </a:r>
          </a:p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51308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748474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7897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22.emf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5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25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22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8.png"/><Relationship Id="rId18" Type="http://schemas.openxmlformats.org/officeDocument/2006/relationships/image" Target="../media/image43.png"/><Relationship Id="rId26" Type="http://schemas.openxmlformats.org/officeDocument/2006/relationships/image" Target="../media/image51.png"/><Relationship Id="rId39" Type="http://schemas.openxmlformats.org/officeDocument/2006/relationships/image" Target="../media/image64.png"/><Relationship Id="rId21" Type="http://schemas.openxmlformats.org/officeDocument/2006/relationships/image" Target="../media/image46.png"/><Relationship Id="rId34" Type="http://schemas.openxmlformats.org/officeDocument/2006/relationships/image" Target="../media/image59.png"/><Relationship Id="rId42" Type="http://schemas.openxmlformats.org/officeDocument/2006/relationships/image" Target="../media/image67.png"/><Relationship Id="rId47" Type="http://schemas.openxmlformats.org/officeDocument/2006/relationships/image" Target="../media/image72.png"/><Relationship Id="rId50" Type="http://schemas.openxmlformats.org/officeDocument/2006/relationships/image" Target="../media/image75.png"/><Relationship Id="rId55" Type="http://schemas.openxmlformats.org/officeDocument/2006/relationships/image" Target="../media/image80.emf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6" Type="http://schemas.openxmlformats.org/officeDocument/2006/relationships/image" Target="../media/image41.png"/><Relationship Id="rId29" Type="http://schemas.openxmlformats.org/officeDocument/2006/relationships/image" Target="../media/image54.png"/><Relationship Id="rId11" Type="http://schemas.openxmlformats.org/officeDocument/2006/relationships/image" Target="../media/image36.png"/><Relationship Id="rId24" Type="http://schemas.openxmlformats.org/officeDocument/2006/relationships/image" Target="../media/image49.png"/><Relationship Id="rId32" Type="http://schemas.openxmlformats.org/officeDocument/2006/relationships/image" Target="../media/image57.png"/><Relationship Id="rId37" Type="http://schemas.openxmlformats.org/officeDocument/2006/relationships/image" Target="../media/image62.png"/><Relationship Id="rId40" Type="http://schemas.openxmlformats.org/officeDocument/2006/relationships/image" Target="../media/image65.png"/><Relationship Id="rId45" Type="http://schemas.openxmlformats.org/officeDocument/2006/relationships/image" Target="../media/image70.png"/><Relationship Id="rId53" Type="http://schemas.openxmlformats.org/officeDocument/2006/relationships/image" Target="../media/image78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19" Type="http://schemas.openxmlformats.org/officeDocument/2006/relationships/image" Target="../media/image44.png"/><Relationship Id="rId31" Type="http://schemas.openxmlformats.org/officeDocument/2006/relationships/image" Target="../media/image56.png"/><Relationship Id="rId44" Type="http://schemas.openxmlformats.org/officeDocument/2006/relationships/image" Target="../media/image69.png"/><Relationship Id="rId52" Type="http://schemas.openxmlformats.org/officeDocument/2006/relationships/image" Target="../media/image77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openxmlformats.org/officeDocument/2006/relationships/image" Target="../media/image39.png"/><Relationship Id="rId22" Type="http://schemas.openxmlformats.org/officeDocument/2006/relationships/image" Target="../media/image47.png"/><Relationship Id="rId27" Type="http://schemas.openxmlformats.org/officeDocument/2006/relationships/image" Target="../media/image52.png"/><Relationship Id="rId30" Type="http://schemas.openxmlformats.org/officeDocument/2006/relationships/image" Target="../media/image55.png"/><Relationship Id="rId35" Type="http://schemas.openxmlformats.org/officeDocument/2006/relationships/image" Target="../media/image60.png"/><Relationship Id="rId43" Type="http://schemas.openxmlformats.org/officeDocument/2006/relationships/image" Target="../media/image68.png"/><Relationship Id="rId48" Type="http://schemas.openxmlformats.org/officeDocument/2006/relationships/image" Target="../media/image73.png"/><Relationship Id="rId8" Type="http://schemas.openxmlformats.org/officeDocument/2006/relationships/image" Target="../media/image33.png"/><Relationship Id="rId51" Type="http://schemas.openxmlformats.org/officeDocument/2006/relationships/image" Target="../media/image76.png"/><Relationship Id="rId3" Type="http://schemas.openxmlformats.org/officeDocument/2006/relationships/image" Target="../media/image28.pn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5" Type="http://schemas.openxmlformats.org/officeDocument/2006/relationships/image" Target="../media/image50.png"/><Relationship Id="rId33" Type="http://schemas.openxmlformats.org/officeDocument/2006/relationships/image" Target="../media/image58.png"/><Relationship Id="rId38" Type="http://schemas.openxmlformats.org/officeDocument/2006/relationships/image" Target="../media/image63.png"/><Relationship Id="rId46" Type="http://schemas.openxmlformats.org/officeDocument/2006/relationships/image" Target="../media/image71.png"/><Relationship Id="rId20" Type="http://schemas.openxmlformats.org/officeDocument/2006/relationships/image" Target="../media/image45.png"/><Relationship Id="rId41" Type="http://schemas.openxmlformats.org/officeDocument/2006/relationships/image" Target="../media/image66.png"/><Relationship Id="rId54" Type="http://schemas.openxmlformats.org/officeDocument/2006/relationships/image" Target="../media/image79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1.png"/><Relationship Id="rId15" Type="http://schemas.openxmlformats.org/officeDocument/2006/relationships/image" Target="../media/image40.png"/><Relationship Id="rId23" Type="http://schemas.openxmlformats.org/officeDocument/2006/relationships/image" Target="../media/image48.png"/><Relationship Id="rId28" Type="http://schemas.openxmlformats.org/officeDocument/2006/relationships/image" Target="../media/image53.png"/><Relationship Id="rId36" Type="http://schemas.openxmlformats.org/officeDocument/2006/relationships/image" Target="../media/image61.png"/><Relationship Id="rId49" Type="http://schemas.openxmlformats.org/officeDocument/2006/relationships/image" Target="../media/image74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22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2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22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22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2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122413-18BE-41D8-B289-D45507FAAE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4826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122413-18BE-41D8-B289-D45507FAA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3537F3-1B8B-471E-9586-7D7D852F5E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B512-B8F4-42B9-B020-57544BFC8C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631782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 - Large G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4793895"/>
            <a:ext cx="3102015" cy="215444"/>
          </a:xfrm>
        </p:spPr>
        <p:txBody>
          <a:bodyPr>
            <a:spAutoFit/>
          </a:bodyPr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/>
              <a:t>Dat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690472"/>
            <a:ext cx="5152292" cy="1994392"/>
          </a:xfrm>
        </p:spPr>
        <p:txBody>
          <a:bodyPr anchor="b">
            <a:spAutoFit/>
          </a:bodyPr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pt-BR"/>
              <a:t>Place presentation title here 48p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514A36BA-D645-BC4D-951A-896F7F345B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1095" y="3850191"/>
            <a:ext cx="5142198" cy="369332"/>
          </a:xfr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tx1"/>
                </a:solidFill>
                <a:latin typeface="GT Sectra Fine Bk" panose="00000400000000000000" pitchFamily="50" charset="0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pt-BR"/>
              <a:t>Place subtitle here in GT Sectra Fine 24pt</a:t>
            </a:r>
          </a:p>
        </p:txBody>
      </p:sp>
    </p:spTree>
    <p:extLst>
      <p:ext uri="{BB962C8B-B14F-4D97-AF65-F5344CB8AC3E}">
        <p14:creationId xmlns:p14="http://schemas.microsoft.com/office/powerpoint/2010/main" val="3820305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AABFF943-57C9-1D46-BA2C-6CD3DBD9C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14554-40F0-1E4C-A7AC-E4B8B2B0AA1B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0060717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6" y="2906584"/>
            <a:ext cx="5690701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609585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7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 </a:t>
            </a:r>
          </a:p>
          <a:p>
            <a:pPr marL="0" marR="0" lvl="0" indent="0" algn="l" defTabSz="609585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 </a:t>
            </a:r>
          </a:p>
          <a:p>
            <a:pPr marL="0" marR="0" lvl="0" indent="0" algn="l" defTabSz="609585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26924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09585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 has </a:t>
            </a:r>
            <a:br>
              <a:rPr lang="en-US"/>
            </a:br>
            <a:r>
              <a:rPr lang="en-US"/>
              <a:t>id </a:t>
            </a:r>
            <a:r>
              <a:rPr lang="en-US" err="1"/>
              <a:t>cibo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facilis</a:t>
            </a:r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1"/>
            <a:ext cx="5071453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800"/>
              </a:lnSpc>
              <a:defRPr sz="48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err="1"/>
              <a:t>Insira</a:t>
            </a:r>
            <a:r>
              <a:rPr lang="en-US"/>
              <a:t> o </a:t>
            </a:r>
            <a:r>
              <a:rPr lang="en-US" err="1"/>
              <a:t>Título</a:t>
            </a:r>
            <a:r>
              <a:rPr lang="en-US"/>
              <a:t> </a:t>
            </a:r>
            <a:br>
              <a:rPr lang="en-US"/>
            </a:br>
            <a:r>
              <a:rPr lang="en-US"/>
              <a:t>do </a:t>
            </a:r>
            <a:r>
              <a:rPr lang="en-US" err="1"/>
              <a:t>projeto</a:t>
            </a:r>
            <a:r>
              <a:rPr lang="en-US"/>
              <a:t> </a:t>
            </a:r>
            <a:r>
              <a:rPr lang="en-US" err="1"/>
              <a:t>aqui</a:t>
            </a:r>
            <a:endParaRPr lang="en-US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816806" y="6232588"/>
            <a:ext cx="2846591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333" baseline="0">
                <a:solidFill>
                  <a:srgbClr val="4D4D4D"/>
                </a:solidFill>
              </a:defRPr>
            </a:lvl1pPr>
          </a:lstStyle>
          <a:p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#›</a:t>
            </a:fld>
            <a:endParaRPr lang="en-US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371903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sic - Dark,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0" y="2148008"/>
            <a:ext cx="7997521" cy="1661993"/>
          </a:xfrm>
        </p:spPr>
        <p:txBody>
          <a:bodyPr anchor="b">
            <a:spAutoFit/>
          </a:bodyPr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pt-BR"/>
              <a:t>Place presentation title here,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0" y="4000500"/>
            <a:ext cx="7997521" cy="369332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Bk" panose="000004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pt-BR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4500000"/>
            <a:ext cx="4114799" cy="215444"/>
          </a:xfrm>
        </p:spPr>
        <p:txBody>
          <a:bodyPr>
            <a:spAutoFit/>
          </a:bodyPr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/>
              <a:t>Dat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26767" y="5616000"/>
            <a:ext cx="1884233" cy="49801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</a:p>
        </p:txBody>
      </p:sp>
    </p:spTree>
    <p:extLst>
      <p:ext uri="{BB962C8B-B14F-4D97-AF65-F5344CB8AC3E}">
        <p14:creationId xmlns:p14="http://schemas.microsoft.com/office/powerpoint/2010/main" val="2402823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Image - Gradi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664797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Bk" panose="000004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pt-BR"/>
              <a:t>Place subtitle here in GT Sectra Fine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2800298"/>
            <a:ext cx="4952999" cy="1495794"/>
          </a:xfrm>
        </p:spPr>
        <p:txBody>
          <a:bodyPr anchor="b">
            <a:sp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pt-BR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2 Accenture. Todos os direitos reservado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pt-BR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31364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with Image - Gradi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2 Accenture. Todos os direitos reservado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pt-BR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19257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Image - Gradient Co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2800298"/>
            <a:ext cx="4952999" cy="1495794"/>
          </a:xfrm>
        </p:spPr>
        <p:txBody>
          <a:bodyPr anchor="b">
            <a:sp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pt-BR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pt-BR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664797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Bk" panose="000004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pt-BR"/>
              <a:t>Place subtitle here in GT Sectra Fine 24p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5CE916-9266-4CA1-BD32-D7889AD1FE6B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2 Accenture. Todos os direitos reservados.</a:t>
            </a:r>
          </a:p>
        </p:txBody>
      </p:sp>
    </p:spTree>
    <p:extLst>
      <p:ext uri="{BB962C8B-B14F-4D97-AF65-F5344CB8AC3E}">
        <p14:creationId xmlns:p14="http://schemas.microsoft.com/office/powerpoint/2010/main" val="2560163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747897"/>
          </a:xfrm>
        </p:spPr>
        <p:txBody>
          <a:bodyPr anchor="t">
            <a:sp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pt-BR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906634"/>
            <a:ext cx="6186712" cy="2123658"/>
          </a:xfrm>
        </p:spPr>
        <p:txBody>
          <a:bodyPr anchor="b" anchorCtr="0">
            <a:spAutoFit/>
          </a:bodyPr>
          <a:lstStyle>
            <a:lvl1pPr marL="0" indent="0" algn="l" defTabSz="914400" rtl="0" eaLnBrk="1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None/>
              <a:defRPr lang="en-US" sz="13800" b="1" kern="1200" dirty="0">
                <a:ln w="38100">
                  <a:solidFill>
                    <a:schemeClr val="tx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pt-BR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pt-BR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51E468-407E-4B31-8137-CBDBA20DDF79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Todos os direitos reservados.</a:t>
            </a:r>
          </a:p>
        </p:txBody>
      </p:sp>
    </p:spTree>
    <p:extLst>
      <p:ext uri="{BB962C8B-B14F-4D97-AF65-F5344CB8AC3E}">
        <p14:creationId xmlns:p14="http://schemas.microsoft.com/office/powerpoint/2010/main" val="2825344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>
            <a:lvl4pPr marL="685800" marR="0" indent="-228600" algn="l" defTabSz="2286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  <a:lvl5pPr marL="914400" marR="0" indent="-228600" algn="l" defTabSz="2286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System Font"/>
              <a:buChar char="–"/>
              <a:tabLst/>
              <a:defRPr/>
            </a:lvl5pPr>
          </a:lstStyle>
          <a:p>
            <a:pPr lvl="1"/>
            <a:r>
              <a:rPr lang="pt-BR"/>
              <a:t>First level</a:t>
            </a:r>
          </a:p>
          <a:p>
            <a:pPr lvl="2"/>
            <a:r>
              <a:rPr lang="pt-BR"/>
              <a:t>Second level</a:t>
            </a:r>
          </a:p>
          <a:p>
            <a:pPr marL="685800" marR="0" lvl="3" indent="-228600" algn="l" defTabSz="2286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/>
              <a:t>Third level</a:t>
            </a:r>
          </a:p>
          <a:p>
            <a:pPr marL="914400" marR="0" lvl="4" indent="-228600" algn="l" defTabSz="2286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System Font"/>
              <a:buChar char="–"/>
              <a:tabLst/>
              <a:defRPr/>
            </a:pPr>
            <a:r>
              <a:rPr lang="pt-B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22334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87007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11D147A-A6FF-2649-952D-6F0520F2F0F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0" y="1494000"/>
            <a:ext cx="11430000" cy="338554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200" b="0" i="0" spc="0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pt-BR"/>
              <a:t>Place subtitle here 22pt</a:t>
            </a:r>
          </a:p>
        </p:txBody>
      </p:sp>
    </p:spTree>
    <p:extLst>
      <p:ext uri="{BB962C8B-B14F-4D97-AF65-F5344CB8AC3E}">
        <p14:creationId xmlns:p14="http://schemas.microsoft.com/office/powerpoint/2010/main" val="7765442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</p:spTree>
    <p:extLst>
      <p:ext uri="{BB962C8B-B14F-4D97-AF65-F5344CB8AC3E}">
        <p14:creationId xmlns:p14="http://schemas.microsoft.com/office/powerpoint/2010/main" val="30699003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A79FA9C-1C87-4331-AB59-C1086C0193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0" y="0"/>
            <a:ext cx="5226424" cy="6858000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CDA868DB-20BF-43CC-B578-D3EE82015951}"/>
              </a:ext>
            </a:extLst>
          </p:cNvPr>
          <p:cNvSpPr txBox="1">
            <a:spLocks/>
          </p:cNvSpPr>
          <p:nvPr userDrawn="1"/>
        </p:nvSpPr>
        <p:spPr>
          <a:xfrm>
            <a:off x="7941318" y="6671561"/>
            <a:ext cx="4114800" cy="1404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pt-BR"/>
            </a:defPPr>
            <a:lvl1pPr marL="0" algn="r" defTabSz="914400" rtl="0" eaLnBrk="1" latinLnBrk="0" hangingPunct="1">
              <a:defRPr sz="900" kern="1200">
                <a:solidFill>
                  <a:srgbClr val="8989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t-BR" sz="700" b="0" i="0">
                <a:effectLst/>
                <a:latin typeface="Arial" panose="020B0604020202020204" pitchFamily="34" charset="0"/>
              </a:rPr>
              <a:t>Copyright © 2022 Accenture. Todos os direitos reservados</a:t>
            </a:r>
          </a:p>
        </p:txBody>
      </p:sp>
    </p:spTree>
    <p:extLst>
      <p:ext uri="{BB962C8B-B14F-4D97-AF65-F5344CB8AC3E}">
        <p14:creationId xmlns:p14="http://schemas.microsoft.com/office/powerpoint/2010/main" val="19985523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576000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</p:spTree>
    <p:extLst>
      <p:ext uri="{BB962C8B-B14F-4D97-AF65-F5344CB8AC3E}">
        <p14:creationId xmlns:p14="http://schemas.microsoft.com/office/powerpoint/2010/main" val="21320036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576000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C2936B7-ABA1-9A41-8A71-7462715166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0" y="1008000"/>
            <a:ext cx="11430000" cy="338554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200" b="0" i="0" spc="0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pt-BR"/>
              <a:t>Place subtitle here 22pt</a:t>
            </a:r>
          </a:p>
        </p:txBody>
      </p:sp>
    </p:spTree>
    <p:extLst>
      <p:ext uri="{BB962C8B-B14F-4D97-AF65-F5344CB8AC3E}">
        <p14:creationId xmlns:p14="http://schemas.microsoft.com/office/powerpoint/2010/main" val="112086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948869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</a:lstStyle>
          <a:p>
            <a:pPr lvl="0"/>
            <a:r>
              <a:rPr lang="pt-BR"/>
              <a:t>Click to edit master text styl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7F9821C-406F-4C8D-BD12-4EB0427EBC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1"/>
            <a:r>
              <a:rPr lang="pt-BR"/>
              <a:t>First level</a:t>
            </a:r>
          </a:p>
          <a:p>
            <a:pPr lvl="2"/>
            <a:r>
              <a:rPr lang="pt-BR"/>
              <a:t>Second level</a:t>
            </a:r>
          </a:p>
          <a:p>
            <a:pPr lvl="3"/>
            <a:r>
              <a:rPr lang="pt-BR"/>
              <a:t>Third level</a:t>
            </a:r>
          </a:p>
          <a:p>
            <a:pPr lvl="4"/>
            <a:r>
              <a:rPr lang="pt-BR"/>
              <a:t>Forth level</a:t>
            </a:r>
          </a:p>
        </p:txBody>
      </p:sp>
    </p:spTree>
    <p:extLst>
      <p:ext uri="{BB962C8B-B14F-4D97-AF65-F5344CB8AC3E}">
        <p14:creationId xmlns:p14="http://schemas.microsoft.com/office/powerpoint/2010/main" val="9042066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505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872000"/>
            <a:ext cx="5524500" cy="36000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Place headline here 22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872000"/>
            <a:ext cx="5524500" cy="36000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Place headline here 2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304890"/>
            <a:ext cx="5524499" cy="1343445"/>
          </a:xfrm>
        </p:spPr>
        <p:txBody>
          <a:bodyPr>
            <a:sp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0"/>
              </a:spcAft>
              <a:defRPr sz="1800"/>
            </a:lvl2pPr>
            <a:lvl3pPr>
              <a:spcAft>
                <a:spcPts val="0"/>
              </a:spcAft>
              <a:defRPr sz="1800"/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  <a:lvl6pPr>
              <a:defRPr sz="1200"/>
            </a:lvl6pPr>
          </a:lstStyle>
          <a:p>
            <a:pPr lvl="1"/>
            <a:r>
              <a:rPr lang="pt-BR"/>
              <a:t>First level</a:t>
            </a:r>
          </a:p>
          <a:p>
            <a:pPr lvl="2"/>
            <a:r>
              <a:rPr lang="pt-BR"/>
              <a:t>Second level</a:t>
            </a:r>
          </a:p>
          <a:p>
            <a:pPr lvl="3"/>
            <a:r>
              <a:rPr lang="pt-BR"/>
              <a:t>Third level</a:t>
            </a:r>
          </a:p>
          <a:p>
            <a:pPr lvl="4"/>
            <a:r>
              <a:rPr lang="pt-BR"/>
              <a:t>Four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304890"/>
            <a:ext cx="5524499" cy="1343445"/>
          </a:xfrm>
        </p:spPr>
        <p:txBody>
          <a:bodyPr>
            <a:sp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0"/>
              </a:spcAft>
              <a:defRPr sz="1800"/>
            </a:lvl2pPr>
            <a:lvl3pPr>
              <a:spcAft>
                <a:spcPts val="0"/>
              </a:spcAft>
              <a:defRPr sz="1800"/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  <a:lvl6pPr>
              <a:defRPr sz="1200"/>
            </a:lvl6pPr>
          </a:lstStyle>
          <a:p>
            <a:pPr lvl="1"/>
            <a:r>
              <a:rPr lang="pt-BR"/>
              <a:t>First level</a:t>
            </a:r>
          </a:p>
          <a:p>
            <a:pPr lvl="2"/>
            <a:r>
              <a:rPr lang="pt-BR"/>
              <a:t>Second level</a:t>
            </a:r>
          </a:p>
          <a:p>
            <a:pPr lvl="3"/>
            <a:r>
              <a:rPr lang="pt-BR"/>
              <a:t>Third level</a:t>
            </a:r>
          </a:p>
          <a:p>
            <a:pPr lvl="4"/>
            <a:r>
              <a:rPr lang="pt-B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36690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800" cy="36000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Place headline here 22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2736000"/>
            <a:ext cx="3556000" cy="1232645"/>
          </a:xfrm>
        </p:spPr>
        <p:txBody>
          <a:bodyPr>
            <a:sp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0"/>
              </a:spcAft>
              <a:defRPr sz="1600"/>
            </a:lvl2pPr>
            <a:lvl3pPr>
              <a:spcAft>
                <a:spcPts val="0"/>
              </a:spcAft>
              <a:defRPr sz="1600"/>
            </a:lvl3pPr>
            <a:lvl4pPr>
              <a:spcAft>
                <a:spcPts val="0"/>
              </a:spcAft>
              <a:defRPr sz="1600"/>
            </a:lvl4pPr>
            <a:lvl5pPr>
              <a:spcAft>
                <a:spcPts val="0"/>
              </a:spcAft>
              <a:defRPr sz="1600"/>
            </a:lvl5pPr>
            <a:lvl6pPr>
              <a:defRPr sz="1200"/>
            </a:lvl6pPr>
          </a:lstStyle>
          <a:p>
            <a:pPr lvl="1"/>
            <a:r>
              <a:rPr lang="pt-BR"/>
              <a:t>First level</a:t>
            </a:r>
          </a:p>
          <a:p>
            <a:pPr lvl="2"/>
            <a:r>
              <a:rPr lang="pt-BR"/>
              <a:t>Second level</a:t>
            </a:r>
          </a:p>
          <a:p>
            <a:pPr lvl="3"/>
            <a:r>
              <a:rPr lang="pt-BR"/>
              <a:t>Third level</a:t>
            </a:r>
          </a:p>
          <a:p>
            <a:pPr lvl="4"/>
            <a:r>
              <a:rPr lang="pt-BR"/>
              <a:t>Four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72000"/>
            <a:ext cx="3556000" cy="307777"/>
          </a:xfrm>
        </p:spPr>
        <p:txBody>
          <a:bodyPr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800" cy="36000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Place headline here 22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2736000"/>
            <a:ext cx="3556000" cy="1232645"/>
          </a:xfrm>
        </p:spPr>
        <p:txBody>
          <a:bodyPr>
            <a:sp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0"/>
              </a:spcAft>
              <a:defRPr sz="1600"/>
            </a:lvl2pPr>
            <a:lvl3pPr>
              <a:spcAft>
                <a:spcPts val="0"/>
              </a:spcAft>
              <a:defRPr sz="1600"/>
            </a:lvl3pPr>
            <a:lvl4pPr>
              <a:spcAft>
                <a:spcPts val="0"/>
              </a:spcAft>
              <a:defRPr sz="1600"/>
            </a:lvl4pPr>
            <a:lvl5pPr>
              <a:spcAft>
                <a:spcPts val="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1"/>
            <a:r>
              <a:rPr lang="pt-BR"/>
              <a:t>First level</a:t>
            </a:r>
          </a:p>
          <a:p>
            <a:pPr lvl="2"/>
            <a:r>
              <a:rPr lang="pt-BR"/>
              <a:t>Second level</a:t>
            </a:r>
          </a:p>
          <a:p>
            <a:pPr lvl="3"/>
            <a:r>
              <a:rPr lang="pt-BR"/>
              <a:t>Third level</a:t>
            </a:r>
          </a:p>
          <a:p>
            <a:pPr lvl="4"/>
            <a:r>
              <a:rPr lang="pt-BR"/>
              <a:t>Four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72000"/>
            <a:ext cx="3556000" cy="307777"/>
          </a:xfrm>
        </p:spPr>
        <p:txBody>
          <a:bodyPr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800" cy="36000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Place headline here 22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2736000"/>
            <a:ext cx="3556000" cy="1232645"/>
          </a:xfrm>
        </p:spPr>
        <p:txBody>
          <a:bodyPr>
            <a:sp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0"/>
              </a:spcAft>
              <a:defRPr sz="1600"/>
            </a:lvl2pPr>
            <a:lvl3pPr>
              <a:spcAft>
                <a:spcPts val="0"/>
              </a:spcAft>
              <a:defRPr sz="1600"/>
            </a:lvl3pPr>
            <a:lvl4pPr>
              <a:spcAft>
                <a:spcPts val="0"/>
              </a:spcAft>
              <a:defRPr sz="1600"/>
            </a:lvl4pPr>
            <a:lvl5pPr>
              <a:spcAft>
                <a:spcPts val="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1"/>
            <a:r>
              <a:rPr lang="pt-BR"/>
              <a:t>First level</a:t>
            </a:r>
          </a:p>
          <a:p>
            <a:pPr lvl="2"/>
            <a:r>
              <a:rPr lang="pt-BR"/>
              <a:t>Second level</a:t>
            </a:r>
          </a:p>
          <a:p>
            <a:pPr lvl="3"/>
            <a:r>
              <a:rPr lang="pt-BR"/>
              <a:t>Third level</a:t>
            </a:r>
          </a:p>
          <a:p>
            <a:pPr lvl="4"/>
            <a:r>
              <a:rPr lang="pt-BR"/>
              <a:t>Four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72000"/>
            <a:ext cx="3556000" cy="307777"/>
          </a:xfrm>
        </p:spPr>
        <p:txBody>
          <a:bodyPr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9263629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36000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Place headline 20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72000"/>
            <a:ext cx="2571749" cy="307777"/>
          </a:xfrm>
        </p:spPr>
        <p:txBody>
          <a:bodyPr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360000"/>
          </a:xfrm>
        </p:spPr>
        <p:txBody>
          <a:bodyPr anchor="t"/>
          <a:lstStyle>
            <a:lvl1pPr marL="0" marR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z="2000"/>
              <a:t>Place headline 20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72000"/>
            <a:ext cx="2571750" cy="307777"/>
          </a:xfrm>
        </p:spPr>
        <p:txBody>
          <a:bodyPr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360000"/>
          </a:xfrm>
        </p:spPr>
        <p:txBody>
          <a:bodyPr anchor="t"/>
          <a:lstStyle>
            <a:lvl1pPr marL="0" marR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z="2000"/>
              <a:t>Place headline 20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72000"/>
            <a:ext cx="2571750" cy="307777"/>
          </a:xfrm>
        </p:spPr>
        <p:txBody>
          <a:bodyPr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360000"/>
          </a:xfrm>
        </p:spPr>
        <p:txBody>
          <a:bodyPr anchor="t"/>
          <a:lstStyle>
            <a:lvl1pPr marL="0" marR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z="2000"/>
              <a:t>Place headline 20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72000"/>
            <a:ext cx="2571750" cy="307777"/>
          </a:xfrm>
        </p:spPr>
        <p:txBody>
          <a:bodyPr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#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2736000"/>
            <a:ext cx="2571749" cy="1232645"/>
          </a:xfrm>
        </p:spPr>
        <p:txBody>
          <a:bodyPr>
            <a:sp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0"/>
              </a:spcAft>
              <a:defRPr sz="1600"/>
            </a:lvl2pPr>
            <a:lvl3pPr>
              <a:spcAft>
                <a:spcPts val="0"/>
              </a:spcAft>
              <a:defRPr sz="1600"/>
            </a:lvl3pPr>
            <a:lvl4pPr>
              <a:spcAft>
                <a:spcPts val="0"/>
              </a:spcAft>
              <a:defRPr sz="1600"/>
            </a:lvl4pPr>
            <a:lvl5pPr>
              <a:spcAft>
                <a:spcPts val="0"/>
              </a:spcAft>
              <a:defRPr sz="1600"/>
            </a:lvl5pPr>
            <a:lvl6pPr>
              <a:defRPr sz="1200"/>
            </a:lvl6pPr>
          </a:lstStyle>
          <a:p>
            <a:pPr lvl="1"/>
            <a:r>
              <a:rPr lang="pt-BR"/>
              <a:t>First level</a:t>
            </a:r>
          </a:p>
          <a:p>
            <a:pPr lvl="2"/>
            <a:r>
              <a:rPr lang="pt-BR"/>
              <a:t>Second level</a:t>
            </a:r>
          </a:p>
          <a:p>
            <a:pPr lvl="3"/>
            <a:r>
              <a:rPr lang="pt-BR"/>
              <a:t>Third level</a:t>
            </a:r>
          </a:p>
          <a:p>
            <a:pPr lvl="4"/>
            <a:r>
              <a:rPr lang="pt-BR"/>
              <a:t>Four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2736000"/>
            <a:ext cx="2571749" cy="1232645"/>
          </a:xfrm>
        </p:spPr>
        <p:txBody>
          <a:bodyPr>
            <a:sp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0"/>
              </a:spcAft>
              <a:defRPr sz="1600"/>
            </a:lvl2pPr>
            <a:lvl3pPr>
              <a:spcAft>
                <a:spcPts val="0"/>
              </a:spcAft>
              <a:defRPr sz="1600"/>
            </a:lvl3pPr>
            <a:lvl4pPr>
              <a:spcAft>
                <a:spcPts val="0"/>
              </a:spcAft>
              <a:defRPr sz="1600"/>
            </a:lvl4pPr>
            <a:lvl5pPr>
              <a:spcAft>
                <a:spcPts val="0"/>
              </a:spcAft>
              <a:defRPr sz="1600"/>
            </a:lvl5pPr>
            <a:lvl6pPr>
              <a:defRPr sz="1200"/>
            </a:lvl6pPr>
          </a:lstStyle>
          <a:p>
            <a:pPr lvl="1"/>
            <a:r>
              <a:rPr lang="pt-BR"/>
              <a:t>First level</a:t>
            </a:r>
          </a:p>
          <a:p>
            <a:pPr lvl="2"/>
            <a:r>
              <a:rPr lang="pt-BR"/>
              <a:t>Second level</a:t>
            </a:r>
          </a:p>
          <a:p>
            <a:pPr lvl="3"/>
            <a:r>
              <a:rPr lang="pt-BR"/>
              <a:t>Third level</a:t>
            </a:r>
          </a:p>
          <a:p>
            <a:pPr lvl="4"/>
            <a:r>
              <a:rPr lang="pt-BR"/>
              <a:t>Four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2736000"/>
            <a:ext cx="2571749" cy="1232645"/>
          </a:xfrm>
        </p:spPr>
        <p:txBody>
          <a:bodyPr>
            <a:sp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0"/>
              </a:spcAft>
              <a:defRPr sz="1600"/>
            </a:lvl2pPr>
            <a:lvl3pPr>
              <a:spcAft>
                <a:spcPts val="0"/>
              </a:spcAft>
              <a:defRPr sz="1600"/>
            </a:lvl3pPr>
            <a:lvl4pPr>
              <a:spcAft>
                <a:spcPts val="0"/>
              </a:spcAft>
              <a:defRPr sz="1600"/>
            </a:lvl4pPr>
            <a:lvl5pPr>
              <a:spcAft>
                <a:spcPts val="0"/>
              </a:spcAft>
              <a:defRPr sz="1600"/>
            </a:lvl5pPr>
            <a:lvl6pPr>
              <a:defRPr sz="1200"/>
            </a:lvl6pPr>
          </a:lstStyle>
          <a:p>
            <a:pPr lvl="1"/>
            <a:r>
              <a:rPr lang="pt-BR"/>
              <a:t>First level</a:t>
            </a:r>
          </a:p>
          <a:p>
            <a:pPr lvl="2"/>
            <a:r>
              <a:rPr lang="pt-BR"/>
              <a:t>Second level</a:t>
            </a:r>
          </a:p>
          <a:p>
            <a:pPr lvl="3"/>
            <a:r>
              <a:rPr lang="pt-BR"/>
              <a:t>Third level</a:t>
            </a:r>
          </a:p>
          <a:p>
            <a:pPr lvl="4"/>
            <a:r>
              <a:rPr lang="pt-BR"/>
              <a:t>Four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2736000"/>
            <a:ext cx="2571749" cy="1232645"/>
          </a:xfrm>
        </p:spPr>
        <p:txBody>
          <a:bodyPr>
            <a:spAutoFit/>
          </a:bodyPr>
          <a:lstStyle>
            <a:lvl1pPr>
              <a:spcAft>
                <a:spcPts val="600"/>
              </a:spcAft>
              <a:defRPr sz="1800"/>
            </a:lvl1pPr>
            <a:lvl2pPr>
              <a:spcAft>
                <a:spcPts val="0"/>
              </a:spcAft>
              <a:defRPr sz="1600"/>
            </a:lvl2pPr>
            <a:lvl3pPr>
              <a:spcAft>
                <a:spcPts val="0"/>
              </a:spcAft>
              <a:defRPr sz="1600"/>
            </a:lvl3pPr>
            <a:lvl4pPr>
              <a:spcAft>
                <a:spcPts val="0"/>
              </a:spcAft>
              <a:defRPr sz="1600"/>
            </a:lvl4pPr>
            <a:lvl5pPr>
              <a:spcAft>
                <a:spcPts val="0"/>
              </a:spcAft>
              <a:defRPr sz="1600"/>
            </a:lvl5pPr>
            <a:lvl6pPr>
              <a:defRPr sz="1200"/>
            </a:lvl6pPr>
          </a:lstStyle>
          <a:p>
            <a:pPr lvl="1"/>
            <a:r>
              <a:rPr lang="pt-BR"/>
              <a:t>First level</a:t>
            </a:r>
          </a:p>
          <a:p>
            <a:pPr lvl="2"/>
            <a:r>
              <a:rPr lang="pt-BR"/>
              <a:t>Second level</a:t>
            </a:r>
          </a:p>
          <a:p>
            <a:pPr lvl="3"/>
            <a:r>
              <a:rPr lang="pt-BR"/>
              <a:t>Third level</a:t>
            </a:r>
          </a:p>
          <a:p>
            <a:pPr lvl="4"/>
            <a:r>
              <a:rPr lang="pt-B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12759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1800" b="0"/>
            </a:lvl1pPr>
          </a:lstStyle>
          <a:p>
            <a:r>
              <a:rPr lang="pt-BR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2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/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2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/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2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/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2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/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2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/>
            </a:lvl1pPr>
          </a:lstStyle>
          <a:p>
            <a:pPr lvl="0"/>
            <a:r>
              <a:rPr lang="pt-BR"/>
              <a:t>Add profile photo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 userDrawn="1"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 userDrawn="1"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 userDrawn="1"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 userDrawn="1"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 userDrawn="1"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 userDrawn="1"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095685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/>
            </a:lvl2pPr>
            <a:lvl3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Last name</a:t>
            </a:r>
          </a:p>
          <a:p>
            <a:pPr lvl="1"/>
            <a:r>
              <a:rPr lang="pt-BR"/>
              <a:t>Role</a:t>
            </a:r>
          </a:p>
          <a:p>
            <a:pPr lvl="2"/>
            <a:r>
              <a:rPr lang="pt-BR"/>
              <a:t>Short bio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12338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/>
            </a:lvl2pPr>
            <a:lvl3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Last name</a:t>
            </a:r>
          </a:p>
          <a:p>
            <a:pPr lvl="1"/>
            <a:r>
              <a:rPr lang="pt-BR"/>
              <a:t>Role</a:t>
            </a:r>
          </a:p>
          <a:p>
            <a:pPr lvl="2"/>
            <a:r>
              <a:rPr lang="pt-BR"/>
              <a:t>Short bio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12338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/>
            </a:lvl2pPr>
            <a:lvl3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Last name</a:t>
            </a:r>
          </a:p>
          <a:p>
            <a:pPr lvl="1"/>
            <a:r>
              <a:rPr lang="pt-BR"/>
              <a:t>Role</a:t>
            </a:r>
          </a:p>
          <a:p>
            <a:pPr lvl="2"/>
            <a:r>
              <a:rPr lang="pt-BR"/>
              <a:t>Short bio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12338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/>
            </a:lvl2pPr>
            <a:lvl3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Last name</a:t>
            </a:r>
          </a:p>
          <a:p>
            <a:pPr lvl="1"/>
            <a:r>
              <a:rPr lang="pt-BR"/>
              <a:t>Role</a:t>
            </a:r>
          </a:p>
          <a:p>
            <a:pPr lvl="2"/>
            <a:r>
              <a:rPr lang="pt-BR"/>
              <a:t>Short bio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12338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/>
            </a:lvl2pPr>
            <a:lvl3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Last name</a:t>
            </a:r>
          </a:p>
          <a:p>
            <a:pPr lvl="1"/>
            <a:r>
              <a:rPr lang="pt-BR"/>
              <a:t>Role</a:t>
            </a:r>
          </a:p>
          <a:p>
            <a:pPr lvl="2"/>
            <a:r>
              <a:rPr lang="pt-BR"/>
              <a:t>Short bio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12338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/>
            </a:lvl2pPr>
            <a:lvl3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Last name</a:t>
            </a:r>
          </a:p>
          <a:p>
            <a:pPr lvl="1"/>
            <a:r>
              <a:rPr lang="pt-BR"/>
              <a:t>Role</a:t>
            </a:r>
          </a:p>
          <a:p>
            <a:pPr lvl="2"/>
            <a:r>
              <a:rPr lang="pt-BR"/>
              <a:t>Short bio</a:t>
            </a:r>
          </a:p>
        </p:txBody>
      </p:sp>
    </p:spTree>
    <p:extLst>
      <p:ext uri="{BB962C8B-B14F-4D97-AF65-F5344CB8AC3E}">
        <p14:creationId xmlns:p14="http://schemas.microsoft.com/office/powerpoint/2010/main" val="37931634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pt-BR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12338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/>
            </a:lvl2pPr>
            <a:lvl3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Last name</a:t>
            </a:r>
          </a:p>
          <a:p>
            <a:pPr lvl="1"/>
            <a:r>
              <a:rPr lang="pt-BR"/>
              <a:t>Role</a:t>
            </a:r>
          </a:p>
          <a:p>
            <a:pPr lvl="2"/>
            <a:r>
              <a:rPr lang="pt-BR"/>
              <a:t>Short bio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12338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/>
            </a:lvl2pPr>
            <a:lvl3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Last name</a:t>
            </a:r>
          </a:p>
          <a:p>
            <a:pPr lvl="1"/>
            <a:r>
              <a:rPr lang="pt-BR"/>
              <a:t>Role</a:t>
            </a:r>
          </a:p>
          <a:p>
            <a:pPr lvl="2"/>
            <a:r>
              <a:rPr lang="pt-BR"/>
              <a:t>Short bio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Add profile photo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 userDrawn="1"/>
        </p:nvCxnSpPr>
        <p:spPr>
          <a:xfrm>
            <a:off x="377415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 userDrawn="1"/>
        </p:nvCxnSpPr>
        <p:spPr>
          <a:xfrm>
            <a:off x="2353236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 userDrawn="1"/>
        </p:nvCxnSpPr>
        <p:spPr>
          <a:xfrm>
            <a:off x="4329057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 userDrawn="1"/>
        </p:nvCxnSpPr>
        <p:spPr>
          <a:xfrm>
            <a:off x="6304878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 userDrawn="1"/>
        </p:nvCxnSpPr>
        <p:spPr>
          <a:xfrm>
            <a:off x="8280699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 userDrawn="1"/>
        </p:nvCxnSpPr>
        <p:spPr>
          <a:xfrm>
            <a:off x="10256520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12338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/>
            </a:lvl2pPr>
            <a:lvl3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Last name</a:t>
            </a:r>
          </a:p>
          <a:p>
            <a:pPr lvl="1"/>
            <a:r>
              <a:rPr lang="pt-BR"/>
              <a:t>Role</a:t>
            </a:r>
          </a:p>
          <a:p>
            <a:pPr lvl="2"/>
            <a:r>
              <a:rPr lang="pt-BR"/>
              <a:t>Short bio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12338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/>
            </a:lvl2pPr>
            <a:lvl3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Last name</a:t>
            </a:r>
          </a:p>
          <a:p>
            <a:pPr lvl="1"/>
            <a:r>
              <a:rPr lang="pt-BR"/>
              <a:t>Role</a:t>
            </a:r>
          </a:p>
          <a:p>
            <a:pPr lvl="2"/>
            <a:r>
              <a:rPr lang="pt-BR"/>
              <a:t>Short bio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12338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/>
            </a:lvl2pPr>
            <a:lvl3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Last name</a:t>
            </a:r>
          </a:p>
          <a:p>
            <a:pPr lvl="1"/>
            <a:r>
              <a:rPr lang="pt-BR"/>
              <a:t>Role</a:t>
            </a:r>
          </a:p>
          <a:p>
            <a:pPr lvl="2"/>
            <a:r>
              <a:rPr lang="pt-BR"/>
              <a:t>Short bio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12338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/>
            </a:lvl2pPr>
            <a:lvl3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Last name</a:t>
            </a:r>
          </a:p>
          <a:p>
            <a:pPr lvl="1"/>
            <a:r>
              <a:rPr lang="pt-BR"/>
              <a:t>Role</a:t>
            </a:r>
          </a:p>
          <a:p>
            <a:pPr lvl="2"/>
            <a:r>
              <a:rPr lang="pt-BR"/>
              <a:t>Short bi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B3CD3D7-329E-47BB-94A7-43044FF6B3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1079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6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C567B633-7A8D-4E02-AC3C-D0FFE6EF27EE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pt-BR" sz="800">
                <a:solidFill>
                  <a:schemeClr val="tx1">
                    <a:alpha val="75000"/>
                  </a:schemeClr>
                </a:solidFill>
              </a:rPr>
              <a:t>Copyright © 2020 Accenture. Todos os direitos reservados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A60814C-E527-4501-B78F-627E3F63F1A8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pt-BR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pt-BR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Slide Number Placeholder 6">
            <a:extLst>
              <a:ext uri="{FF2B5EF4-FFF2-40B4-BE49-F238E27FC236}">
                <a16:creationId xmlns:a16="http://schemas.microsoft.com/office/drawing/2014/main" id="{44B48F23-8A3B-489A-9932-398284AA90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pt-BR" smtClean="0"/>
              <a:pPr algn="r" defTabSz="228600">
                <a:spcAft>
                  <a:spcPts val="1200"/>
                </a:spcAft>
              </a:pPr>
              <a:t>‹#›</a:t>
            </a:fld>
            <a:endParaRPr lang="pt-BR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66040270-7B3E-4569-B5CC-E34EB72A2B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33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A79FA9C-1C87-4331-AB59-C1086C0193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ABF15AF-6A89-46DD-8462-02FE93ACC6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83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40107" r="-299"/>
          <a:stretch/>
        </p:blipFill>
        <p:spPr>
          <a:xfrm flipH="1">
            <a:off x="-36517" y="-3333558"/>
            <a:ext cx="12228517" cy="5773405"/>
          </a:xfrm>
          <a:prstGeom prst="flowChartDocumen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99FCE17-9141-47E0-BDC9-51DE666709CD}"/>
              </a:ext>
            </a:extLst>
          </p:cNvPr>
          <p:cNvSpPr txBox="1">
            <a:spLocks/>
          </p:cNvSpPr>
          <p:nvPr userDrawn="1"/>
        </p:nvSpPr>
        <p:spPr>
          <a:xfrm>
            <a:off x="7941318" y="6671561"/>
            <a:ext cx="4114800" cy="1404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pt-BR"/>
            </a:defPPr>
            <a:lvl1pPr marL="0" algn="r" defTabSz="914400" rtl="0" eaLnBrk="1" latinLnBrk="0" hangingPunct="1">
              <a:defRPr sz="900" kern="1200">
                <a:solidFill>
                  <a:srgbClr val="8989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t-BR" sz="700" b="0" i="0">
                <a:effectLst/>
                <a:latin typeface="Arial" panose="020B0604020202020204" pitchFamily="34" charset="0"/>
              </a:rPr>
              <a:t>Copyright © 2022 Accenture. Todos os direitos reservados</a:t>
            </a:r>
          </a:p>
        </p:txBody>
      </p:sp>
    </p:spTree>
    <p:extLst>
      <p:ext uri="{BB962C8B-B14F-4D97-AF65-F5344CB8AC3E}">
        <p14:creationId xmlns:p14="http://schemas.microsoft.com/office/powerpoint/2010/main" val="18471591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434133"/>
            <a:ext cx="3540355" cy="4752288"/>
          </a:xfrm>
        </p:spPr>
        <p:txBody>
          <a:bodyPr/>
          <a:lstStyle>
            <a:lvl1pPr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1800"/>
            </a:lvl1pPr>
            <a:lvl2pPr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1800"/>
            </a:lvl2pPr>
            <a:lvl3pPr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1800"/>
            </a:lvl3pPr>
            <a:lvl4pPr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1800"/>
            </a:lvl4pPr>
            <a:lvl5pPr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1800"/>
            </a:lvl5pPr>
          </a:lstStyle>
          <a:p>
            <a:pPr lvl="0"/>
            <a:r>
              <a:rPr lang="pt-BR"/>
              <a:t>Place text here, use indent to access other levels</a:t>
            </a:r>
          </a:p>
          <a:p>
            <a:pPr lvl="1"/>
            <a:r>
              <a:rPr lang="pt-BR"/>
              <a:t>First level</a:t>
            </a:r>
          </a:p>
          <a:p>
            <a:pPr lvl="2"/>
            <a:r>
              <a:rPr lang="pt-BR"/>
              <a:t>Second level</a:t>
            </a:r>
          </a:p>
          <a:p>
            <a:pPr lvl="3"/>
            <a:r>
              <a:rPr lang="pt-BR"/>
              <a:t>Third level</a:t>
            </a:r>
          </a:p>
          <a:p>
            <a:pPr lvl="4"/>
            <a:r>
              <a:rPr lang="pt-BR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434132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/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434132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/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434132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/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434132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/>
            </a:lvl1pPr>
          </a:lstStyle>
          <a:p>
            <a:pPr lvl="0"/>
            <a:r>
              <a:rPr lang="pt-BR"/>
              <a:t>Add profile photo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 userDrawn="1"/>
        </p:nvCxnSpPr>
        <p:spPr>
          <a:xfrm>
            <a:off x="4325822" y="2771900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 userDrawn="1"/>
        </p:nvCxnSpPr>
        <p:spPr>
          <a:xfrm>
            <a:off x="6298233" y="2771900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 userDrawn="1"/>
        </p:nvCxnSpPr>
        <p:spPr>
          <a:xfrm>
            <a:off x="8270644" y="2771900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 userDrawn="1"/>
        </p:nvCxnSpPr>
        <p:spPr>
          <a:xfrm>
            <a:off x="10243055" y="2771900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925451"/>
            <a:ext cx="1567945" cy="71404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pt-BR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925451"/>
            <a:ext cx="1567945" cy="71404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pt-BR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925451"/>
            <a:ext cx="1567945" cy="71404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pt-BR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925451"/>
            <a:ext cx="1567945" cy="71404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pt-BR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981060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/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981060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/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981060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/>
            </a:lvl1pPr>
          </a:lstStyle>
          <a:p>
            <a:pPr lvl="0"/>
            <a:r>
              <a:rPr lang="pt-BR"/>
              <a:t>Add profile photo</a:t>
            </a:r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981060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en-US" sz="1800" b="0" dirty="0"/>
            </a:lvl1pPr>
          </a:lstStyle>
          <a:p>
            <a:pPr lvl="0"/>
            <a:r>
              <a:rPr lang="pt-BR"/>
              <a:t>Add profile photo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 userDrawn="1"/>
        </p:nvCxnSpPr>
        <p:spPr>
          <a:xfrm>
            <a:off x="4325822" y="5318828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 userDrawn="1"/>
        </p:nvCxnSpPr>
        <p:spPr>
          <a:xfrm>
            <a:off x="6298233" y="5318828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 userDrawn="1"/>
        </p:nvCxnSpPr>
        <p:spPr>
          <a:xfrm>
            <a:off x="8270644" y="5318828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 userDrawn="1"/>
        </p:nvCxnSpPr>
        <p:spPr>
          <a:xfrm>
            <a:off x="10243055" y="5318828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472379"/>
            <a:ext cx="1567945" cy="71404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pt-BR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472379"/>
            <a:ext cx="1567945" cy="71404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pt-BR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472379"/>
            <a:ext cx="1567945" cy="71404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pt-BR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472379"/>
            <a:ext cx="1567945" cy="71404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pt-BR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pt-BR"/>
              <a:t>Role</a:t>
            </a:r>
          </a:p>
        </p:txBody>
      </p:sp>
    </p:spTree>
    <p:extLst>
      <p:ext uri="{BB962C8B-B14F-4D97-AF65-F5344CB8AC3E}">
        <p14:creationId xmlns:p14="http://schemas.microsoft.com/office/powerpoint/2010/main" val="12399820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533853"/>
            <a:ext cx="5334000" cy="266700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>
                <a:solidFill>
                  <a:schemeClr val="accent1"/>
                </a:solidFill>
                <a:latin typeface="GT Sectra Fine Bk" panose="000004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pt-BR"/>
              <a:t>Place sub-headline here in GT Sectra Fine, indent for other level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8000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Add image, then ‘Send to Back’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647218"/>
            <a:ext cx="5334000" cy="2667000"/>
          </a:xfrm>
        </p:spPr>
        <p:txBody>
          <a:bodyPr anchor="b"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pt-BR" smtClean="0"/>
              <a:pPr algn="r" defTabSz="228600">
                <a:spcAft>
                  <a:spcPts val="1200"/>
                </a:spcAft>
              </a:pPr>
              <a:t>‹#›</a:t>
            </a:fld>
            <a:endParaRPr lang="pt-BR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FA9F383-2971-43C6-A5DC-E763F18038AC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pt-BR" sz="800">
                <a:solidFill>
                  <a:schemeClr val="tx1">
                    <a:alpha val="75000"/>
                  </a:schemeClr>
                </a:solidFill>
              </a:rPr>
              <a:t>Copyright © 2020 Accenture. Todos os direitos reservados.</a:t>
            </a:r>
            <a:endParaRPr lang="pt-BR" noProof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7931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-1"/>
            <a:ext cx="6096024" cy="6309361"/>
          </a:xfrm>
          <a:noFill/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pt-BR"/>
              <a:t>Add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Todos os direitos reservado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pt-BR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000" y="3267635"/>
            <a:ext cx="5334000" cy="266700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GT Sectra Fine Bk" panose="00000400000000000000" pitchFamily="50" charset="0"/>
              </a:defRPr>
            </a:lvl1pPr>
            <a:lvl2pPr marL="0" indent="0">
              <a:buNone/>
              <a:defRPr sz="1800">
                <a:solidFill>
                  <a:schemeClr val="tx1"/>
                </a:solidFill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pt-BR"/>
              <a:t>Place sub-headline here in GT Sectra Fine, indent for other levels</a:t>
            </a:r>
          </a:p>
        </p:txBody>
      </p:sp>
    </p:spTree>
    <p:extLst>
      <p:ext uri="{BB962C8B-B14F-4D97-AF65-F5344CB8AC3E}">
        <p14:creationId xmlns:p14="http://schemas.microsoft.com/office/powerpoint/2010/main" val="1732298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pt-BR"/>
              <a:t>Ad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2995326"/>
            <a:ext cx="4952999" cy="867348"/>
          </a:xfrm>
        </p:spPr>
        <p:txBody>
          <a:bodyPr tIns="36000" anchor="ctr">
            <a:sp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pt-BR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30090316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0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pt-BR"/>
              <a:t>Add image here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pt-BR" sz="800">
                <a:solidFill>
                  <a:schemeClr val="bg1">
                    <a:alpha val="75000"/>
                  </a:schemeClr>
                </a:solidFill>
              </a:rPr>
              <a:t>Copyright © 2020 Accenture. Todos os direitos reservado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pt-BR" sz="800" smtClean="0">
                <a:solidFill>
                  <a:schemeClr val="bg1">
                    <a:alpha val="75000"/>
                  </a:schemeClr>
                </a:solidFill>
              </a:rPr>
              <a:t>‹#›</a:t>
            </a:fld>
            <a:endParaRPr lang="pt-BR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8" name="Graphic 4">
            <a:extLst>
              <a:ext uri="{FF2B5EF4-FFF2-40B4-BE49-F238E27FC236}">
                <a16:creationId xmlns:a16="http://schemas.microsoft.com/office/drawing/2014/main" id="{913FDE8A-C5A2-B343-AB3B-F798CD92EA83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33419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122913"/>
            <a:ext cx="5290595" cy="830997"/>
          </a:xfrm>
        </p:spPr>
        <p:txBody>
          <a:bodyPr anchor="ctr" anchorCtr="0">
            <a:spAutoFit/>
          </a:bodyPr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sp>
        <p:nvSpPr>
          <p:cNvPr id="3" name="Rectangle 9">
            <a:extLst>
              <a:ext uri="{FF2B5EF4-FFF2-40B4-BE49-F238E27FC236}">
                <a16:creationId xmlns:a16="http://schemas.microsoft.com/office/drawing/2014/main" id="{2B3605D7-9F7F-8A42-A461-536CE841BB5A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D14D521A-3C53-4A4F-B122-E389F06B2359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5" name="TextBox 1">
            <a:extLst>
              <a:ext uri="{FF2B5EF4-FFF2-40B4-BE49-F238E27FC236}">
                <a16:creationId xmlns:a16="http://schemas.microsoft.com/office/drawing/2014/main" id="{76E8FA83-1071-0C46-B9BC-0FAD41492370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pt-BR" sz="800">
                <a:solidFill>
                  <a:schemeClr val="bg1">
                    <a:alpha val="75000"/>
                  </a:schemeClr>
                </a:solidFill>
              </a:rPr>
              <a:t>Copyright © 2020 Accenture. Todos os direitos reservados.</a:t>
            </a:r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28EAB0DB-D34F-3648-8A37-56CF15464673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pt-BR" sz="800" smtClean="0">
                <a:solidFill>
                  <a:schemeClr val="bg1">
                    <a:alpha val="75000"/>
                  </a:schemeClr>
                </a:solidFill>
              </a:rPr>
              <a:t>‹#›</a:t>
            </a:fld>
            <a:endParaRPr lang="pt-BR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7" name="Rectangle 28">
            <a:extLst>
              <a:ext uri="{FF2B5EF4-FFF2-40B4-BE49-F238E27FC236}">
                <a16:creationId xmlns:a16="http://schemas.microsoft.com/office/drawing/2014/main" id="{EE7FC27F-1607-1E4B-B2E7-B196F1A4155E}"/>
              </a:ext>
            </a:extLst>
          </p:cNvPr>
          <p:cNvSpPr/>
          <p:nvPr userDrawn="1"/>
        </p:nvSpPr>
        <p:spPr>
          <a:xfrm>
            <a:off x="3077308" y="3160156"/>
            <a:ext cx="2951999" cy="3060000"/>
          </a:xfrm>
          <a:prstGeom prst="rect">
            <a:avLst/>
          </a:prstGeom>
          <a:solidFill>
            <a:schemeClr val="bg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ctangle 28">
            <a:extLst>
              <a:ext uri="{FF2B5EF4-FFF2-40B4-BE49-F238E27FC236}">
                <a16:creationId xmlns:a16="http://schemas.microsoft.com/office/drawing/2014/main" id="{4627E492-D8C9-1F4B-A099-1A1C508DDF32}"/>
              </a:ext>
            </a:extLst>
          </p:cNvPr>
          <p:cNvSpPr/>
          <p:nvPr userDrawn="1"/>
        </p:nvSpPr>
        <p:spPr>
          <a:xfrm>
            <a:off x="-4039" y="3160156"/>
            <a:ext cx="2951999" cy="3060000"/>
          </a:xfrm>
          <a:prstGeom prst="rect">
            <a:avLst/>
          </a:prstGeom>
          <a:solidFill>
            <a:schemeClr val="bg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ctangle 28">
            <a:extLst>
              <a:ext uri="{FF2B5EF4-FFF2-40B4-BE49-F238E27FC236}">
                <a16:creationId xmlns:a16="http://schemas.microsoft.com/office/drawing/2014/main" id="{65929A19-8571-BB43-8170-EF576B06CFB6}"/>
              </a:ext>
            </a:extLst>
          </p:cNvPr>
          <p:cNvSpPr/>
          <p:nvPr userDrawn="1"/>
        </p:nvSpPr>
        <p:spPr>
          <a:xfrm>
            <a:off x="9240001" y="3160156"/>
            <a:ext cx="2951999" cy="3060000"/>
          </a:xfrm>
          <a:prstGeom prst="rect">
            <a:avLst/>
          </a:prstGeom>
          <a:solidFill>
            <a:schemeClr val="bg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ctangle 28">
            <a:extLst>
              <a:ext uri="{FF2B5EF4-FFF2-40B4-BE49-F238E27FC236}">
                <a16:creationId xmlns:a16="http://schemas.microsoft.com/office/drawing/2014/main" id="{2C538C39-B7C9-7347-B743-F367C7E20658}"/>
              </a:ext>
            </a:extLst>
          </p:cNvPr>
          <p:cNvSpPr/>
          <p:nvPr userDrawn="1"/>
        </p:nvSpPr>
        <p:spPr>
          <a:xfrm>
            <a:off x="6158655" y="3160156"/>
            <a:ext cx="2951999" cy="3060000"/>
          </a:xfrm>
          <a:prstGeom prst="rect">
            <a:avLst/>
          </a:prstGeom>
          <a:solidFill>
            <a:schemeClr val="bg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ctangle 28">
            <a:extLst>
              <a:ext uri="{FF2B5EF4-FFF2-40B4-BE49-F238E27FC236}">
                <a16:creationId xmlns:a16="http://schemas.microsoft.com/office/drawing/2014/main" id="{9C106130-512D-1B4E-BD10-F9C8BE60ECBD}"/>
              </a:ext>
            </a:extLst>
          </p:cNvPr>
          <p:cNvSpPr/>
          <p:nvPr userDrawn="1"/>
        </p:nvSpPr>
        <p:spPr>
          <a:xfrm>
            <a:off x="9240001" y="8412"/>
            <a:ext cx="2951999" cy="3060000"/>
          </a:xfrm>
          <a:prstGeom prst="rect">
            <a:avLst/>
          </a:prstGeom>
          <a:solidFill>
            <a:schemeClr val="bg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ctangle 28">
            <a:extLst>
              <a:ext uri="{FF2B5EF4-FFF2-40B4-BE49-F238E27FC236}">
                <a16:creationId xmlns:a16="http://schemas.microsoft.com/office/drawing/2014/main" id="{54E8398E-2986-4B40-B3F1-AC10421B7ECE}"/>
              </a:ext>
            </a:extLst>
          </p:cNvPr>
          <p:cNvSpPr/>
          <p:nvPr userDrawn="1"/>
        </p:nvSpPr>
        <p:spPr>
          <a:xfrm>
            <a:off x="6158655" y="8412"/>
            <a:ext cx="2951999" cy="3060000"/>
          </a:xfrm>
          <a:prstGeom prst="rect">
            <a:avLst/>
          </a:prstGeom>
          <a:solidFill>
            <a:schemeClr val="bg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07040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Gradient Dar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3036875"/>
            <a:ext cx="8656320" cy="784249"/>
          </a:xfrm>
        </p:spPr>
        <p:txBody>
          <a:bodyPr tIns="36000" anchor="ctr">
            <a:sp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pt-BR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Todos os direitos reservado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pt-BR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78619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Mid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3036875"/>
            <a:ext cx="8656320" cy="784249"/>
          </a:xfrm>
        </p:spPr>
        <p:txBody>
          <a:bodyPr tIns="36000" anchor="ctr">
            <a:sp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pt-BR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Todos os direitos reservados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pt-BR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</a:p>
        </p:txBody>
      </p:sp>
    </p:spTree>
    <p:extLst>
      <p:ext uri="{BB962C8B-B14F-4D97-AF65-F5344CB8AC3E}">
        <p14:creationId xmlns:p14="http://schemas.microsoft.com/office/powerpoint/2010/main" val="66467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3036875"/>
            <a:ext cx="8656320" cy="784249"/>
          </a:xfrm>
        </p:spPr>
        <p:txBody>
          <a:bodyPr tIns="36000" anchor="ctr">
            <a:sp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pt-BR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pt-BR" smtClean="0"/>
              <a:pPr algn="r" defTabSz="228600">
                <a:spcAft>
                  <a:spcPts val="1200"/>
                </a:spcAft>
              </a:pPr>
              <a:t>‹#›</a:t>
            </a:fld>
            <a:endParaRPr lang="pt-BR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pt-BR" sz="800">
                <a:solidFill>
                  <a:schemeClr val="tx1">
                    <a:alpha val="75000"/>
                  </a:schemeClr>
                </a:solidFill>
              </a:rPr>
              <a:t>Copyright © 2020 Accenture. Todos os direitos reservados.</a:t>
            </a:r>
          </a:p>
        </p:txBody>
      </p:sp>
    </p:spTree>
    <p:extLst>
      <p:ext uri="{BB962C8B-B14F-4D97-AF65-F5344CB8AC3E}">
        <p14:creationId xmlns:p14="http://schemas.microsoft.com/office/powerpoint/2010/main" val="492970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eetings + Greater Than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912227"/>
            <a:ext cx="7040753" cy="1033548"/>
          </a:xfrm>
        </p:spPr>
        <p:txBody>
          <a:bodyPr tIns="36000" anchor="ctr">
            <a:spAutoFit/>
          </a:bodyPr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pt-BR"/>
              <a:t>Obrigado(a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10122443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00000"/>
            <a:ext cx="11429999" cy="121776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9703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36923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pt-BR">
              <a:solidFill>
                <a:srgbClr val="00BBE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7613" y="6575425"/>
            <a:ext cx="5414433" cy="128588"/>
          </a:xfrm>
        </p:spPr>
        <p:txBody>
          <a:bodyPr/>
          <a:lstStyle/>
          <a:p>
            <a:endParaRPr lang="pt-BR">
              <a:solidFill>
                <a:srgbClr val="00BBE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7213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948869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</a:lstStyle>
          <a:p>
            <a:pPr lvl="0"/>
            <a:r>
              <a:rPr lang="pt-B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14709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948869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</a:lstStyle>
          <a:p>
            <a:pPr lvl="0"/>
            <a:r>
              <a:rPr lang="pt-B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11983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00000"/>
            <a:ext cx="11429999" cy="1246495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pt-B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92556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2137CF2-9157-4B26-9401-04C81F01B280}"/>
              </a:ext>
            </a:extLst>
          </p:cNvPr>
          <p:cNvSpPr txBox="1"/>
          <p:nvPr userDrawn="1"/>
        </p:nvSpPr>
        <p:spPr>
          <a:xfrm>
            <a:off x="474284" y="6572250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l">
              <a:defRPr/>
            </a:pPr>
            <a:r>
              <a:rPr lang="pt-BR" sz="90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2022 Accenture  Todos os direitos reservados</a:t>
            </a:r>
          </a:p>
        </p:txBody>
      </p:sp>
    </p:spTree>
    <p:extLst>
      <p:ext uri="{BB962C8B-B14F-4D97-AF65-F5344CB8AC3E}">
        <p14:creationId xmlns:p14="http://schemas.microsoft.com/office/powerpoint/2010/main" val="35643126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8483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74A0882-B9C6-4DB4-AB79-A96AC3136EB2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pt-BR" sz="2400" b="1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7139" y="321733"/>
            <a:ext cx="11463188" cy="839568"/>
          </a:xfrm>
        </p:spPr>
        <p:txBody>
          <a:bodyPr/>
          <a:lstStyle>
            <a:lvl1pPr>
              <a:defRPr sz="2400"/>
            </a:lvl1pPr>
          </a:lstStyle>
          <a:p>
            <a:r>
              <a:rPr lang="pt-BR"/>
              <a:t>Arial sentence-cap @ size 24 and left-aligned with max of 2 lines</a:t>
            </a:r>
          </a:p>
        </p:txBody>
      </p:sp>
    </p:spTree>
    <p:extLst>
      <p:ext uri="{BB962C8B-B14F-4D97-AF65-F5344CB8AC3E}">
        <p14:creationId xmlns:p14="http://schemas.microsoft.com/office/powerpoint/2010/main" val="3198864452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10BDB0-ACCC-4E94-B467-7E58F59944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473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10BDB0-ACCC-4E94-B467-7E58F59944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C2735B0-FF5E-47CA-B08C-BFAD38F554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24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6C6648-09CC-4242-9AAC-AC118555BC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06203" y="6519010"/>
            <a:ext cx="304799" cy="206375"/>
          </a:xfrm>
          <a:prstGeom prst="rect">
            <a:avLst/>
          </a:prstGeom>
        </p:spPr>
        <p:txBody>
          <a:bodyPr/>
          <a:lstStyle/>
          <a:p>
            <a:fld id="{4F9AC08D-23A9-440E-BCB9-AA1E9877CC38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FBA71CD-988D-40D2-B5D3-5967431752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413" y="365125"/>
            <a:ext cx="11600328" cy="728569"/>
          </a:xfrm>
          <a:prstGeom prst="rect">
            <a:avLst/>
          </a:prstGeom>
        </p:spPr>
        <p:txBody>
          <a:bodyPr/>
          <a:lstStyle>
            <a:lvl1pPr>
              <a:lnSpc>
                <a:spcPts val="2420"/>
              </a:lnSpc>
              <a:defRPr sz="2400">
                <a:latin typeface="Graphik" panose="020B0503030202060203" pitchFamily="34" charset="0"/>
              </a:defRPr>
            </a:lvl1pPr>
          </a:lstStyle>
          <a:p>
            <a:r>
              <a:rPr lang="pt-BR"/>
              <a:t>Click to edit Master title style</a:t>
            </a:r>
            <a:br>
              <a:rPr lang="pt-BR"/>
            </a:br>
            <a:r>
              <a:rPr lang="pt-BR"/>
              <a:t>x</a:t>
            </a:r>
            <a:br>
              <a:rPr lang="pt-BR"/>
            </a:br>
            <a:endParaRPr lang="pt-BR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FCEE16B-CE76-4B85-8EA7-C15573A781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3413" y="1125908"/>
            <a:ext cx="11600328" cy="20637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rgbClr val="009CD6"/>
                </a:solidFill>
              </a:defRPr>
            </a:lvl1pPr>
          </a:lstStyle>
          <a:p>
            <a:pPr lvl="0"/>
            <a:r>
              <a:rPr lang="pt-BR"/>
              <a:t>Título do slide</a:t>
            </a:r>
          </a:p>
        </p:txBody>
      </p:sp>
    </p:spTree>
    <p:extLst>
      <p:ext uri="{BB962C8B-B14F-4D97-AF65-F5344CB8AC3E}">
        <p14:creationId xmlns:p14="http://schemas.microsoft.com/office/powerpoint/2010/main" val="18173067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llout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AA8DA35-349C-4967-840C-C8706D12D3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3" imgH="424" progId="TCLayout.ActiveDocument.1">
                  <p:embed/>
                </p:oleObj>
              </mc:Choice>
              <mc:Fallback>
                <p:oleObj name="think-cell Folie" r:id="rId4" imgW="423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AA8DA35-349C-4967-840C-C8706D12D3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0869C29-7738-4CE2-80CE-337012E57E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pt-BR" sz="4000" b="1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8804" y="6571214"/>
            <a:ext cx="770951" cy="138499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pt-BR" smtClean="0">
                <a:solidFill>
                  <a:srgbClr val="919191"/>
                </a:solidFill>
              </a:rPr>
              <a:pPr/>
              <a:t>‹#›</a:t>
            </a:fld>
            <a:endParaRPr lang="pt-BR">
              <a:solidFill>
                <a:srgbClr val="919191"/>
              </a:solidFill>
            </a:endParaRPr>
          </a:p>
        </p:txBody>
      </p:sp>
      <p:sp>
        <p:nvSpPr>
          <p:cNvPr id="13" name="Rectangle 130">
            <a:extLst>
              <a:ext uri="{FF2B5EF4-FFF2-40B4-BE49-F238E27FC236}">
                <a16:creationId xmlns:a16="http://schemas.microsoft.com/office/drawing/2014/main" id="{C6E4A581-70FC-694D-97C3-42ECAF12DD16}"/>
              </a:ext>
            </a:extLst>
          </p:cNvPr>
          <p:cNvSpPr/>
          <p:nvPr userDrawn="1"/>
        </p:nvSpPr>
        <p:spPr>
          <a:xfrm>
            <a:off x="12292683" y="0"/>
            <a:ext cx="216000" cy="2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00"/>
          </a:p>
        </p:txBody>
      </p:sp>
      <p:sp>
        <p:nvSpPr>
          <p:cNvPr id="14" name="Rectangle 131">
            <a:extLst>
              <a:ext uri="{FF2B5EF4-FFF2-40B4-BE49-F238E27FC236}">
                <a16:creationId xmlns:a16="http://schemas.microsoft.com/office/drawing/2014/main" id="{B0232228-032E-4C4D-9980-86B0344E227A}"/>
              </a:ext>
            </a:extLst>
          </p:cNvPr>
          <p:cNvSpPr/>
          <p:nvPr userDrawn="1"/>
        </p:nvSpPr>
        <p:spPr>
          <a:xfrm>
            <a:off x="12292683" y="261750"/>
            <a:ext cx="216000" cy="21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/>
          </a:p>
        </p:txBody>
      </p:sp>
      <p:sp>
        <p:nvSpPr>
          <p:cNvPr id="15" name="Rectangle 132">
            <a:extLst>
              <a:ext uri="{FF2B5EF4-FFF2-40B4-BE49-F238E27FC236}">
                <a16:creationId xmlns:a16="http://schemas.microsoft.com/office/drawing/2014/main" id="{2611123A-D434-4D48-B100-36975DE97169}"/>
              </a:ext>
            </a:extLst>
          </p:cNvPr>
          <p:cNvSpPr/>
          <p:nvPr userDrawn="1"/>
        </p:nvSpPr>
        <p:spPr>
          <a:xfrm>
            <a:off x="12292683" y="523500"/>
            <a:ext cx="216000" cy="21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bg1"/>
              </a:solidFill>
            </a:endParaRPr>
          </a:p>
        </p:txBody>
      </p:sp>
      <p:sp>
        <p:nvSpPr>
          <p:cNvPr id="16" name="Rectangle 133">
            <a:extLst>
              <a:ext uri="{FF2B5EF4-FFF2-40B4-BE49-F238E27FC236}">
                <a16:creationId xmlns:a16="http://schemas.microsoft.com/office/drawing/2014/main" id="{DB9B476A-6FF1-8E47-9CC5-CB0C955226A7}"/>
              </a:ext>
            </a:extLst>
          </p:cNvPr>
          <p:cNvSpPr/>
          <p:nvPr userDrawn="1"/>
        </p:nvSpPr>
        <p:spPr>
          <a:xfrm>
            <a:off x="12292683" y="1308750"/>
            <a:ext cx="216000" cy="216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/>
          </a:p>
        </p:txBody>
      </p:sp>
      <p:sp>
        <p:nvSpPr>
          <p:cNvPr id="17" name="Rectangle 134">
            <a:extLst>
              <a:ext uri="{FF2B5EF4-FFF2-40B4-BE49-F238E27FC236}">
                <a16:creationId xmlns:a16="http://schemas.microsoft.com/office/drawing/2014/main" id="{36C655EA-D5A8-8C4F-8219-4B1BDDBBDF9F}"/>
              </a:ext>
            </a:extLst>
          </p:cNvPr>
          <p:cNvSpPr/>
          <p:nvPr userDrawn="1"/>
        </p:nvSpPr>
        <p:spPr>
          <a:xfrm>
            <a:off x="12292683" y="1047000"/>
            <a:ext cx="216000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bg1"/>
              </a:solidFill>
            </a:endParaRPr>
          </a:p>
        </p:txBody>
      </p:sp>
      <p:sp>
        <p:nvSpPr>
          <p:cNvPr id="18" name="Rectangle 135">
            <a:extLst>
              <a:ext uri="{FF2B5EF4-FFF2-40B4-BE49-F238E27FC236}">
                <a16:creationId xmlns:a16="http://schemas.microsoft.com/office/drawing/2014/main" id="{59B9DCA7-0BED-F146-AF80-B14F0ACCC4E4}"/>
              </a:ext>
            </a:extLst>
          </p:cNvPr>
          <p:cNvSpPr/>
          <p:nvPr userDrawn="1"/>
        </p:nvSpPr>
        <p:spPr>
          <a:xfrm>
            <a:off x="12292683" y="785250"/>
            <a:ext cx="216000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bg1"/>
              </a:solidFill>
            </a:endParaRPr>
          </a:p>
        </p:txBody>
      </p:sp>
      <p:sp>
        <p:nvSpPr>
          <p:cNvPr id="19" name="Rectangle 157">
            <a:extLst>
              <a:ext uri="{FF2B5EF4-FFF2-40B4-BE49-F238E27FC236}">
                <a16:creationId xmlns:a16="http://schemas.microsoft.com/office/drawing/2014/main" id="{4F59CE0A-818F-9B46-ACFE-119C0C86CF63}"/>
              </a:ext>
            </a:extLst>
          </p:cNvPr>
          <p:cNvSpPr/>
          <p:nvPr userDrawn="1"/>
        </p:nvSpPr>
        <p:spPr>
          <a:xfrm>
            <a:off x="12292683" y="1570500"/>
            <a:ext cx="216000" cy="21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pt-BR" sz="1100">
              <a:solidFill>
                <a:schemeClr val="tx1"/>
              </a:solidFill>
            </a:endParaRPr>
          </a:p>
        </p:txBody>
      </p:sp>
      <p:sp>
        <p:nvSpPr>
          <p:cNvPr id="20" name="Rectangle 158">
            <a:extLst>
              <a:ext uri="{FF2B5EF4-FFF2-40B4-BE49-F238E27FC236}">
                <a16:creationId xmlns:a16="http://schemas.microsoft.com/office/drawing/2014/main" id="{A2CB87AB-D435-AC40-A876-F162AE20B50D}"/>
              </a:ext>
            </a:extLst>
          </p:cNvPr>
          <p:cNvSpPr/>
          <p:nvPr userDrawn="1"/>
        </p:nvSpPr>
        <p:spPr>
          <a:xfrm>
            <a:off x="12292683" y="1832250"/>
            <a:ext cx="216000" cy="216000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00"/>
          </a:p>
        </p:txBody>
      </p:sp>
      <p:sp>
        <p:nvSpPr>
          <p:cNvPr id="21" name="Rectangle 159">
            <a:extLst>
              <a:ext uri="{FF2B5EF4-FFF2-40B4-BE49-F238E27FC236}">
                <a16:creationId xmlns:a16="http://schemas.microsoft.com/office/drawing/2014/main" id="{9B798728-A0D2-8347-82E7-8AC9FE4F4E29}"/>
              </a:ext>
            </a:extLst>
          </p:cNvPr>
          <p:cNvSpPr/>
          <p:nvPr userDrawn="1"/>
        </p:nvSpPr>
        <p:spPr>
          <a:xfrm>
            <a:off x="12292683" y="2094001"/>
            <a:ext cx="216000" cy="2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057B7D-7B65-DD4A-AE65-1946D68974F3}"/>
              </a:ext>
            </a:extLst>
          </p:cNvPr>
          <p:cNvSpPr txBox="1"/>
          <p:nvPr userDrawn="1"/>
        </p:nvSpPr>
        <p:spPr>
          <a:xfrm>
            <a:off x="10014857" y="217714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pt-BR" sz="160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43B68F6-A68A-9440-B4E1-D53434087FE9}"/>
              </a:ext>
            </a:extLst>
          </p:cNvPr>
          <p:cNvGrpSpPr/>
          <p:nvPr userDrawn="1"/>
        </p:nvGrpSpPr>
        <p:grpSpPr>
          <a:xfrm>
            <a:off x="12292683" y="2495532"/>
            <a:ext cx="216000" cy="1660928"/>
            <a:chOff x="6096000" y="909144"/>
            <a:chExt cx="446690" cy="3525053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F9AEFBA-5E66-4643-B273-7D47FD10ABA1}"/>
                </a:ext>
              </a:extLst>
            </p:cNvPr>
            <p:cNvSpPr/>
            <p:nvPr/>
          </p:nvSpPr>
          <p:spPr>
            <a:xfrm>
              <a:off x="6096000" y="1937016"/>
              <a:ext cx="446690" cy="441435"/>
            </a:xfrm>
            <a:prstGeom prst="rect">
              <a:avLst/>
            </a:prstGeom>
            <a:solidFill>
              <a:srgbClr val="0099D0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13C6F0D-C679-F643-99B2-B8819CB03D55}"/>
                </a:ext>
              </a:extLst>
            </p:cNvPr>
            <p:cNvSpPr/>
            <p:nvPr/>
          </p:nvSpPr>
          <p:spPr>
            <a:xfrm>
              <a:off x="6096000" y="909144"/>
              <a:ext cx="446690" cy="441435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70EE77A-81B4-B741-A1DB-D68373F1A5E1}"/>
                </a:ext>
              </a:extLst>
            </p:cNvPr>
            <p:cNvSpPr/>
            <p:nvPr/>
          </p:nvSpPr>
          <p:spPr>
            <a:xfrm>
              <a:off x="6096000" y="2450952"/>
              <a:ext cx="446690" cy="441435"/>
            </a:xfrm>
            <a:prstGeom prst="rect">
              <a:avLst/>
            </a:prstGeom>
            <a:solidFill>
              <a:srgbClr val="00B0F0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EA7B641-C675-B84B-91A6-B3D73D6E7748}"/>
                </a:ext>
              </a:extLst>
            </p:cNvPr>
            <p:cNvSpPr/>
            <p:nvPr/>
          </p:nvSpPr>
          <p:spPr>
            <a:xfrm>
              <a:off x="6096000" y="2964888"/>
              <a:ext cx="446690" cy="441435"/>
            </a:xfrm>
            <a:prstGeom prst="rect">
              <a:avLst/>
            </a:prstGeom>
            <a:solidFill>
              <a:srgbClr val="9DC3E6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9A7DEA6-E6B7-EC46-9207-56993D9338BA}"/>
                </a:ext>
              </a:extLst>
            </p:cNvPr>
            <p:cNvSpPr/>
            <p:nvPr/>
          </p:nvSpPr>
          <p:spPr>
            <a:xfrm>
              <a:off x="6096000" y="3478824"/>
              <a:ext cx="446690" cy="441435"/>
            </a:xfrm>
            <a:prstGeom prst="rect">
              <a:avLst/>
            </a:prstGeom>
            <a:solidFill>
              <a:srgbClr val="DEEBF7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1040CA9-8D53-DF44-8106-33C8B2D08756}"/>
                </a:ext>
              </a:extLst>
            </p:cNvPr>
            <p:cNvSpPr/>
            <p:nvPr/>
          </p:nvSpPr>
          <p:spPr>
            <a:xfrm>
              <a:off x="6096000" y="3992762"/>
              <a:ext cx="446690" cy="441435"/>
            </a:xfrm>
            <a:prstGeom prst="rect">
              <a:avLst/>
            </a:prstGeom>
            <a:solidFill>
              <a:srgbClr val="BFBFBF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2A20DB8-629F-D444-BD50-093D1A0B7C0E}"/>
                </a:ext>
              </a:extLst>
            </p:cNvPr>
            <p:cNvSpPr/>
            <p:nvPr/>
          </p:nvSpPr>
          <p:spPr>
            <a:xfrm>
              <a:off x="6096000" y="1423080"/>
              <a:ext cx="446690" cy="441435"/>
            </a:xfrm>
            <a:prstGeom prst="rect">
              <a:avLst/>
            </a:prstGeom>
            <a:solidFill>
              <a:srgbClr val="0E5F9F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33" name="Titel 1">
            <a:extLst>
              <a:ext uri="{FF2B5EF4-FFF2-40B4-BE49-F238E27FC236}">
                <a16:creationId xmlns:a16="http://schemas.microsoft.com/office/drawing/2014/main" id="{649E9837-AF24-0844-85A6-010E842DE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1"/>
            <a:ext cx="5910943" cy="9277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3F5EC6B0-2233-AC4D-8FAB-DD1A730B5D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00698" y="381001"/>
            <a:ext cx="551905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0">
                <a:solidFill>
                  <a:srgbClr val="224E80"/>
                </a:solidFill>
              </a:defRPr>
            </a:lvl1pPr>
          </a:lstStyle>
          <a:p>
            <a:pPr lvl="0"/>
            <a:r>
              <a:rPr lang="pt-BR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10369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082A29-E1EE-45A5-BABE-3FA83962DE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959E76-073F-4C0E-9405-DAD58AEA7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36FBB7-40D1-4DBF-827A-4E788CBE4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8F3E382-E637-4A48-8241-E90A950C9713}" type="slidenum">
              <a:rPr lang="pt-BR" smtClean="0"/>
              <a:t>‹#›</a:t>
            </a:fld>
            <a:endParaRPr lang="pt-BR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C986D90-EF07-4A04-85B1-C06E39AC14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7" y="136525"/>
            <a:ext cx="10516738" cy="65504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pt-B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34123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A6A6A6"/>
                </a:solidFill>
              </a:defRPr>
            </a:lvl1pPr>
          </a:lstStyle>
          <a:p>
            <a:fld id="{4F9AC08D-23A9-440E-BCB9-AA1E9877CC38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D1CCDA-B829-40F1-803A-3B57AB0553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rgbClr val="A6A6A6"/>
                </a:solidFill>
                <a:latin typeface="+mn-lt"/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10394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tings Slide - G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801427"/>
            <a:ext cx="7040753" cy="1255147"/>
          </a:xfrm>
        </p:spPr>
        <p:txBody>
          <a:bodyPr tIns="36000" anchor="ctr">
            <a:spAutoFit/>
          </a:bodyPr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pt-BR"/>
              <a:t>Bem-vindo</a:t>
            </a:r>
          </a:p>
        </p:txBody>
      </p:sp>
      <p:pic>
        <p:nvPicPr>
          <p:cNvPr id="5" name="Picture 4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89528D09-D9F4-47CA-BBA9-7AF13078DF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0607" y="5376231"/>
            <a:ext cx="670786" cy="7102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pt-BR" noProof="0"/>
              <a:t>Format Background… &gt; Picture or texture fill &gt; Set to one of the dark or mid gradient options</a:t>
            </a:r>
          </a:p>
        </p:txBody>
      </p:sp>
    </p:spTree>
    <p:extLst>
      <p:ext uri="{BB962C8B-B14F-4D97-AF65-F5344CB8AC3E}">
        <p14:creationId xmlns:p14="http://schemas.microsoft.com/office/powerpoint/2010/main" val="2714070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ccTe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35D90A7A-FF9C-0444-B048-22160688E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BR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FF4DAAB-5738-C344-9D27-FA914938EB5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412875"/>
            <a:ext cx="11430000" cy="12464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pt-BR"/>
              <a:t>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7B1495C-59C3-4BEE-AAB3-F054FF442F58}"/>
              </a:ext>
            </a:extLst>
          </p:cNvPr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pt-BR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pt-BR" sz="9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794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2751" y="360363"/>
            <a:ext cx="1127971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5" name="Content Placeholder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393271" y="952501"/>
            <a:ext cx="11267016" cy="5222328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285737" marR="0" indent="-285737" algn="l" defTabSz="914354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 sz="1867"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 marL="446066" indent="-285737">
              <a:lnSpc>
                <a:spcPct val="100000"/>
              </a:lnSpc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2pPr>
            <a:lvl3pPr marL="971502" indent="-285737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Argomento #1 in TIM Sans 18 pt</a:t>
            </a:r>
          </a:p>
          <a:p>
            <a:pPr marL="285737" marR="0" lvl="0" indent="-285737" algn="l" defTabSz="914354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2 in TIM Sans 18 pt</a:t>
            </a:r>
          </a:p>
          <a:p>
            <a:pPr marL="285737" marR="0" lvl="0" indent="-285737" algn="l" defTabSz="914354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3 in TIM Sans 18 pt</a:t>
            </a:r>
          </a:p>
        </p:txBody>
      </p:sp>
      <p:sp>
        <p:nvSpPr>
          <p:cNvPr id="6" name="Segnaposto data 7"/>
          <p:cNvSpPr>
            <a:spLocks noGrp="1"/>
          </p:cNvSpPr>
          <p:nvPr>
            <p:ph type="dt" sz="quarter" idx="2"/>
          </p:nvPr>
        </p:nvSpPr>
        <p:spPr>
          <a:xfrm>
            <a:off x="5491089" y="6323018"/>
            <a:ext cx="5689600" cy="211137"/>
          </a:xfrm>
          <a:prstGeom prst="rect">
            <a:avLst/>
          </a:prstGeom>
        </p:spPr>
        <p:txBody>
          <a:bodyPr/>
          <a:lstStyle>
            <a:lvl1pPr>
              <a:defRPr lang="it-IT" smtClean="0">
                <a:solidFill>
                  <a:schemeClr val="tx1"/>
                </a:solidFill>
              </a:defRPr>
            </a:lvl1pPr>
          </a:lstStyle>
          <a:p>
            <a:endParaRPr lang="pt-BR"/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5491089" y="6467479"/>
            <a:ext cx="5689600" cy="220663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295711" y="6671733"/>
            <a:ext cx="4809067" cy="186267"/>
          </a:xfrm>
          <a:prstGeom prst="rect">
            <a:avLst/>
          </a:prstGeom>
        </p:spPr>
        <p:txBody>
          <a:bodyPr/>
          <a:lstStyle>
            <a:lvl1pPr>
              <a:defRPr lang="pt-BR" sz="800" kern="1200" baseline="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/>
              <a:t>Classificação da Informação: Público, Uso Interno, Confidencial e Estritamente Confidencial</a:t>
            </a:r>
          </a:p>
        </p:txBody>
      </p:sp>
    </p:spTree>
    <p:extLst>
      <p:ext uri="{BB962C8B-B14F-4D97-AF65-F5344CB8AC3E}">
        <p14:creationId xmlns:p14="http://schemas.microsoft.com/office/powerpoint/2010/main" val="40675260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a_1Colum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l">
              <a:defRPr/>
            </a:lvl1pPr>
          </a:lstStyle>
          <a:p>
            <a:r>
              <a:rPr lang="pt-BR" noProof="0"/>
              <a:t>INSERT MAIN TITLE AT 36PT MIN 30P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128768"/>
            <a:ext cx="11474881" cy="407894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 sz="2200">
                <a:solidFill>
                  <a:srgbClr val="FFC100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pt-BR" noProof="0"/>
              <a:t>Insert sub-title here at 22pt, min 18p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355739" y="1774415"/>
            <a:ext cx="7526940" cy="4175033"/>
          </a:xfrm>
        </p:spPr>
        <p:txBody>
          <a:bodyPr/>
          <a:lstStyle>
            <a:lvl1pPr>
              <a:lnSpc>
                <a:spcPct val="110000"/>
              </a:lnSpc>
              <a:spcBef>
                <a:spcPts val="1200"/>
              </a:spcBef>
              <a:defRPr sz="1800">
                <a:latin typeface="Graphik" panose="020B0503030202060203" pitchFamily="34" charset="0"/>
                <a:ea typeface="Roboto" panose="02000000000000000000" pitchFamily="2" charset="0"/>
              </a:defRPr>
            </a:lvl1pPr>
            <a:lvl2pPr>
              <a:lnSpc>
                <a:spcPct val="110000"/>
              </a:lnSpc>
              <a:spcBef>
                <a:spcPts val="800"/>
              </a:spcBef>
              <a:defRPr sz="1600" baseline="0">
                <a:latin typeface="Graphik" panose="020B0503030202060203" pitchFamily="34" charset="0"/>
                <a:ea typeface="Roboto" panose="02000000000000000000" pitchFamily="2" charset="0"/>
              </a:defRPr>
            </a:lvl2pPr>
            <a:lvl3pPr>
              <a:lnSpc>
                <a:spcPct val="110000"/>
              </a:lnSpc>
              <a:spcBef>
                <a:spcPts val="800"/>
              </a:spcBef>
              <a:defRPr sz="1600">
                <a:latin typeface="Arial" panose="020B0604020202020204" pitchFamily="34" charset="0"/>
                <a:ea typeface="Roboto" panose="02000000000000000000" pitchFamily="2" charset="0"/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latin typeface="Arial" panose="020B0604020202020204" pitchFamily="34" charset="0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latin typeface="Arial" panose="020B0604020202020204" pitchFamily="34" charset="0"/>
                <a:ea typeface="Roboto" panose="02000000000000000000" pitchFamily="2" charset="0"/>
              </a:defRPr>
            </a:lvl5pPr>
          </a:lstStyle>
          <a:p>
            <a:r>
              <a:rPr lang="pt-BR" noProof="0"/>
              <a:t>Minimum font size 14pt and line spacing of at least Multiple 1.1</a:t>
            </a:r>
          </a:p>
          <a:p>
            <a:pPr lvl="1"/>
            <a:r>
              <a:rPr lang="pt-BR" noProof="0"/>
              <a:t>Apita imentemqui te sunte cuptia sam cus dem qui deni dictiis dit qui sitae et as sant incitatet, as aut eost, nonsend?</a:t>
            </a:r>
          </a:p>
          <a:p>
            <a:pPr lvl="1"/>
            <a:r>
              <a:rPr lang="pt-BR" noProof="0"/>
              <a:t>As se eni dolestotate con raerum es ini officiis eos reseque peles aut que perferepudi odit perror mo blaborrum et reium as sum.</a:t>
            </a:r>
          </a:p>
          <a:p>
            <a:pPr lvl="2"/>
            <a:r>
              <a:rPr lang="pt-BR" noProof="0"/>
              <a:t>Nimi, qui restis sinihilla verum quatis estrum aut aute nonestr</a:t>
            </a:r>
          </a:p>
          <a:p>
            <a:pPr lvl="2"/>
            <a:r>
              <a:rPr lang="pt-BR" noProof="0"/>
              <a:t>Pudae dolores sedita qui con nempos inullitae esciet qu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4FC7F88-3F79-40C2-B6F1-1CC1924EB41E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>
          <a:xfrm>
            <a:off x="381000" y="6628839"/>
            <a:ext cx="11694019" cy="147881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47984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Click to edit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4417" y="1892302"/>
            <a:ext cx="10943166" cy="4610099"/>
          </a:xfrm>
        </p:spPr>
        <p:txBody>
          <a:bodyPr/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" y="6501342"/>
            <a:ext cx="10382942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99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endParaRPr lang="pt-BR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2544" y="6501342"/>
            <a:ext cx="589856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99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671430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5EA361-C811-4370-8048-D79ABA71E8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913025"/>
            <a:ext cx="11430000" cy="684000"/>
          </a:xfrm>
        </p:spPr>
        <p:txBody>
          <a:bodyPr>
            <a:noAutofit/>
          </a:bodyPr>
          <a:lstStyle>
            <a:lvl1pPr marL="0" indent="0">
              <a:buNone/>
              <a:defRPr sz="2099" b="1">
                <a:solidFill>
                  <a:srgbClr val="FF9128"/>
                </a:solidFill>
              </a:defRPr>
            </a:lvl1pPr>
          </a:lstStyle>
          <a:p>
            <a:pPr lvl="0"/>
            <a:r>
              <a:rPr lang="pt-BR"/>
              <a:t>Edit Master text styles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E3B4D691-25D1-4B64-833C-76994EA97C3F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>
          <a:xfrm>
            <a:off x="381000" y="6628839"/>
            <a:ext cx="11694019" cy="147881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65438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3a_1Colum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 anchor="b">
            <a:normAutofit/>
          </a:bodyPr>
          <a:lstStyle>
            <a:lvl1pPr algn="l">
              <a:defRPr sz="2899"/>
            </a:lvl1pPr>
          </a:lstStyle>
          <a:p>
            <a:r>
              <a:rPr lang="pt-BR" noProof="0"/>
              <a:t>INSERT MAIN TITLE AT 36PT MIN 30P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128768"/>
            <a:ext cx="11474881" cy="407894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pt-BR" sz="1799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 Light" charset="0"/>
                <a:ea typeface="Graphik Light" charset="0"/>
                <a:cs typeface="Graphik Light" charset="0"/>
              </a:defRPr>
            </a:lvl1pPr>
          </a:lstStyle>
          <a:p>
            <a:pPr marR="0" lvl="0" defTabSz="914217" latinLnBrk="0">
              <a:lnSpc>
                <a:spcPct val="100000"/>
              </a:lnSpc>
              <a:spcBef>
                <a:spcPts val="0"/>
              </a:spcBef>
              <a:buClrTx/>
              <a:buSzTx/>
              <a:tabLst/>
            </a:pPr>
            <a:r>
              <a:rPr lang="pt-BR" noProof="0"/>
              <a:t>Insert sub-title here at 22pt, min 18p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355739" y="1774415"/>
            <a:ext cx="7526940" cy="4175033"/>
          </a:xfrm>
        </p:spPr>
        <p:txBody>
          <a:bodyPr/>
          <a:lstStyle>
            <a:lvl1pPr>
              <a:lnSpc>
                <a:spcPct val="110000"/>
              </a:lnSpc>
              <a:spcBef>
                <a:spcPts val="1200"/>
              </a:spcBef>
              <a:defRPr sz="1800">
                <a:latin typeface="Graphik" panose="020B0503030202060203" pitchFamily="34" charset="0"/>
                <a:ea typeface="Roboto" panose="02000000000000000000" pitchFamily="2" charset="0"/>
              </a:defRPr>
            </a:lvl1pPr>
            <a:lvl2pPr>
              <a:lnSpc>
                <a:spcPct val="110000"/>
              </a:lnSpc>
              <a:spcBef>
                <a:spcPts val="800"/>
              </a:spcBef>
              <a:defRPr sz="1600" baseline="0">
                <a:latin typeface="Graphik" panose="020B0503030202060203" pitchFamily="34" charset="0"/>
                <a:ea typeface="Roboto" panose="02000000000000000000" pitchFamily="2" charset="0"/>
              </a:defRPr>
            </a:lvl2pPr>
            <a:lvl3pPr>
              <a:lnSpc>
                <a:spcPct val="110000"/>
              </a:lnSpc>
              <a:spcBef>
                <a:spcPts val="800"/>
              </a:spcBef>
              <a:defRPr sz="1600">
                <a:latin typeface="Arial" panose="020B0604020202020204" pitchFamily="34" charset="0"/>
                <a:ea typeface="Roboto" panose="02000000000000000000" pitchFamily="2" charset="0"/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latin typeface="Arial" panose="020B0604020202020204" pitchFamily="34" charset="0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latin typeface="Arial" panose="020B0604020202020204" pitchFamily="34" charset="0"/>
                <a:ea typeface="Roboto" panose="02000000000000000000" pitchFamily="2" charset="0"/>
              </a:defRPr>
            </a:lvl5pPr>
          </a:lstStyle>
          <a:p>
            <a:r>
              <a:rPr lang="pt-BR" noProof="0"/>
              <a:t>Minimum font size 14pt and line spacing of at least Multiple 1.1</a:t>
            </a:r>
          </a:p>
          <a:p>
            <a:pPr lvl="1"/>
            <a:r>
              <a:rPr lang="pt-BR" noProof="0"/>
              <a:t>Apita imentemqui te sunte cuptia sam cus dem qui deni dictiis dit qui sitae et as sant incitatet, as aut eost, nonsend?</a:t>
            </a:r>
          </a:p>
          <a:p>
            <a:pPr lvl="1"/>
            <a:r>
              <a:rPr lang="pt-BR" noProof="0"/>
              <a:t>As se eni dolestotate con raerum es ini officiis eos reseque peles aut que perferepudi odit perror mo blaborrum et reium as sum.</a:t>
            </a:r>
          </a:p>
          <a:p>
            <a:pPr lvl="2"/>
            <a:r>
              <a:rPr lang="pt-BR" noProof="0"/>
              <a:t>Nimi, qui restis sinihilla verum quatis estrum aut aute nonestr</a:t>
            </a:r>
          </a:p>
          <a:p>
            <a:pPr lvl="2"/>
            <a:r>
              <a:rPr lang="pt-BR" noProof="0"/>
              <a:t>Pudae dolores sedita qui con nempos inullitae esciet que</a:t>
            </a:r>
          </a:p>
        </p:txBody>
      </p:sp>
    </p:spTree>
    <p:extLst>
      <p:ext uri="{BB962C8B-B14F-4D97-AF65-F5344CB8AC3E}">
        <p14:creationId xmlns:p14="http://schemas.microsoft.com/office/powerpoint/2010/main" val="2842291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/>
              <a:t>DIA . MÊS . ANO</a:t>
            </a: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853" y="6502706"/>
            <a:ext cx="528771" cy="261611"/>
          </a:xfrm>
          <a:prstGeom prst="rect">
            <a:avLst/>
          </a:prstGeom>
        </p:spPr>
        <p:txBody>
          <a:bodyPr/>
          <a:lstStyle>
            <a:lvl1pPr algn="r">
              <a:defRPr sz="12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234" y="377769"/>
            <a:ext cx="6934466" cy="660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/>
              <a:t>Tópico</a:t>
            </a:r>
          </a:p>
        </p:txBody>
      </p:sp>
    </p:spTree>
    <p:extLst>
      <p:ext uri="{BB962C8B-B14F-4D97-AF65-F5344CB8AC3E}">
        <p14:creationId xmlns:p14="http://schemas.microsoft.com/office/powerpoint/2010/main" val="27849459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576000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pt-BR"/>
              <a:t>Place headline here (30pt, min 24pt)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C2936B7-ABA1-9A41-8A71-7462715166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0" y="1008000"/>
            <a:ext cx="11430000" cy="430887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200" b="0" i="0" spc="0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pt-BR"/>
              <a:t>Place subtitle here 22pt</a:t>
            </a:r>
          </a:p>
        </p:txBody>
      </p:sp>
    </p:spTree>
    <p:extLst>
      <p:ext uri="{BB962C8B-B14F-4D97-AF65-F5344CB8AC3E}">
        <p14:creationId xmlns:p14="http://schemas.microsoft.com/office/powerpoint/2010/main" val="7430880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teri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B5B521-9DCE-419E-B126-7E0D2E9C84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21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B5B521-9DCE-419E-B126-7E0D2E9C84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418307" y="303199"/>
            <a:ext cx="11468893" cy="836023"/>
          </a:xfrm>
          <a:prstGeom prst="rect">
            <a:avLst/>
          </a:prstGeom>
          <a:ln>
            <a:noFill/>
          </a:ln>
        </p:spPr>
        <p:txBody>
          <a:bodyPr vert="horz" anchor="ctr"/>
          <a:lstStyle>
            <a:lvl1pPr algn="l" rtl="0">
              <a:defRPr sz="3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pt-BR" altLang="es-ES"/>
              <a:t>Haga clic para modificar el estilo de títul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447614" y="1654519"/>
            <a:ext cx="11439586" cy="3381213"/>
          </a:xfrm>
          <a:prstGeom prst="rect">
            <a:avLst/>
          </a:prstGeom>
        </p:spPr>
        <p:txBody>
          <a:bodyPr/>
          <a:lstStyle>
            <a:lvl1pPr marL="342900" indent="-342900" rtl="0"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00100" indent="-342900" rtl="0">
              <a:buClr>
                <a:schemeClr val="tx2"/>
              </a:buClr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300" indent="-342900" rtl="0"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rtl="0">
              <a:buClr>
                <a:schemeClr val="tx2"/>
              </a:buClr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Haga clic para modificar el estilo de texto del patrón</a:t>
            </a:r>
          </a:p>
          <a:p>
            <a:pPr lvl="1"/>
            <a:r>
              <a:rPr lang="pt-BR"/>
              <a:t>Segundo nivel</a:t>
            </a:r>
          </a:p>
          <a:p>
            <a:pPr lvl="2"/>
            <a:r>
              <a:rPr lang="pt-BR"/>
              <a:t>Tercer nivel</a:t>
            </a:r>
          </a:p>
          <a:p>
            <a:pPr lvl="3"/>
            <a:r>
              <a:rPr lang="pt-BR"/>
              <a:t>Cuarto nivel</a:t>
            </a:r>
          </a:p>
        </p:txBody>
      </p:sp>
    </p:spTree>
    <p:extLst>
      <p:ext uri="{BB962C8B-B14F-4D97-AF65-F5344CB8AC3E}">
        <p14:creationId xmlns:p14="http://schemas.microsoft.com/office/powerpoint/2010/main" val="33121790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049268-ED06-42F5-8002-787D3C4AFC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7470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049268-ED06-42F5-8002-787D3C4AFC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5734" y="1665289"/>
            <a:ext cx="10972453" cy="4716463"/>
          </a:xfrm>
        </p:spPr>
        <p:txBody>
          <a:bodyPr/>
          <a:lstStyle>
            <a:lvl1pPr rtl="0">
              <a:defRPr/>
            </a:lvl1pPr>
            <a:lvl2pPr rtl="0">
              <a:defRPr sz="1600"/>
            </a:lvl2pPr>
            <a:lvl3pPr rtl="0">
              <a:defRPr sz="1400"/>
            </a:lvl3pPr>
            <a:lvl4pPr rtl="0">
              <a:defRPr sz="1200" baseline="0"/>
            </a:lvl4pPr>
            <a:lvl5pPr rtl="0">
              <a:defRPr/>
            </a:lvl5pPr>
          </a:lstStyle>
          <a:p>
            <a:pPr lvl="0"/>
            <a:r>
              <a:rPr lang="pt-BR"/>
              <a:t>Slide copy uses this color (16pt)</a:t>
            </a:r>
          </a:p>
          <a:p>
            <a:pPr lvl="1"/>
            <a:r>
              <a:rPr lang="pt-BR"/>
              <a:t>Bullet point level 1 (16pt)</a:t>
            </a:r>
          </a:p>
          <a:p>
            <a:pPr lvl="2"/>
            <a:r>
              <a:rPr lang="pt-BR"/>
              <a:t>Bullet point level 2 (14pt)</a:t>
            </a:r>
          </a:p>
          <a:p>
            <a:pPr lvl="3"/>
            <a:r>
              <a:rPr lang="pt-BR"/>
              <a:t>Bullet point level 3 (12pt)</a:t>
            </a:r>
          </a:p>
          <a:p>
            <a:pPr lvl="4"/>
            <a:r>
              <a:rPr lang="pt-BR"/>
              <a:t>Bullet point level 4 (11pt)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575734" y="1065437"/>
            <a:ext cx="1097245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b="0" dirty="0" smtClean="0">
                <a:solidFill>
                  <a:schemeClr val="bg1">
                    <a:lumMod val="50000"/>
                  </a:schemeClr>
                </a:solidFill>
                <a:latin typeface="Vodafone Rg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pt-BR"/>
              <a:t>Sub-head uses this color (20pt)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2393" y="0"/>
            <a:ext cx="11517558" cy="764704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pt-B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58362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tings Slide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801427"/>
            <a:ext cx="7040753" cy="1255147"/>
          </a:xfrm>
        </p:spPr>
        <p:txBody>
          <a:bodyPr tIns="36000" anchor="ctr">
            <a:spAutoFit/>
          </a:bodyPr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pt-BR"/>
              <a:t>Bem-vindo</a:t>
            </a:r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616000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pt-BR" noProof="0"/>
              <a:t>Format Background… &gt; Picture or texture fill &gt; Set to one of the dark or mid gradient options</a:t>
            </a:r>
          </a:p>
        </p:txBody>
      </p:sp>
    </p:spTree>
    <p:extLst>
      <p:ext uri="{BB962C8B-B14F-4D97-AF65-F5344CB8AC3E}">
        <p14:creationId xmlns:p14="http://schemas.microsoft.com/office/powerpoint/2010/main" val="3844214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DB5C1B-32A4-46EC-85EB-1F146CC66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9347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9DB5C1B-32A4-46EC-85EB-1F146CC66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1986EA-B600-4DE9-873A-47A5273447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943100"/>
            <a:ext cx="8572500" cy="4284279"/>
          </a:xfrm>
          <a:prstGeom prst="rect">
            <a:avLst/>
          </a:prstGeom>
        </p:spPr>
        <p:txBody>
          <a:bodyPr/>
          <a:lstStyle>
            <a:lvl1pPr rtl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800" b="1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  <a:lvl2pPr rtl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180975" indent="-180975" rtl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4pPr>
            <a:lvl5pPr>
              <a:defRPr kumimoji="0" lang="en-GB" sz="1800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5pPr>
          </a:lstStyle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8D1DF11-64D7-450B-92C0-FFBB3964A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983263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rtl="0">
              <a:defRPr/>
            </a:lvl1pPr>
          </a:lstStyle>
          <a:p>
            <a:r>
              <a:rPr lang="pt-BR"/>
              <a:t>Insert Main Title at 36pt min 30p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7F9B7CA-364C-41A2-B676-D564AF563C1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80999" y="1364265"/>
            <a:ext cx="5399999" cy="341130"/>
          </a:xfrm>
        </p:spPr>
        <p:txBody>
          <a:bodyPr>
            <a:normAutofit/>
          </a:bodyPr>
          <a:lstStyle>
            <a:lvl1pPr rtl="0">
              <a:defRPr sz="1800">
                <a:solidFill>
                  <a:srgbClr val="A100FF"/>
                </a:solidFill>
              </a:defRPr>
            </a:lvl1pPr>
          </a:lstStyle>
          <a:p>
            <a:pPr lvl="0"/>
            <a:r>
              <a:rPr lang="pt-BR"/>
              <a:t>Insert topic</a:t>
            </a:r>
          </a:p>
        </p:txBody>
      </p:sp>
    </p:spTree>
    <p:extLst>
      <p:ext uri="{BB962C8B-B14F-4D97-AF65-F5344CB8AC3E}">
        <p14:creationId xmlns:p14="http://schemas.microsoft.com/office/powerpoint/2010/main" val="114827046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&amp;Subtitl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EAA2A1-F068-4332-91E0-8F499A5CE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934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EAA2A1-F068-4332-91E0-8F499A5CE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pt-BR" smtClean="0"/>
              <a:pPr>
                <a:defRPr/>
              </a:pPr>
              <a:t>‹#›</a:t>
            </a:fld>
            <a:endParaRPr lang="pt-BR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204" y="256714"/>
            <a:ext cx="11474881" cy="543475"/>
          </a:xfrm>
        </p:spPr>
        <p:txBody>
          <a:bodyPr vert="horz"/>
          <a:lstStyle>
            <a:lvl1pPr algn="l" rtl="0">
              <a:defRPr sz="2999">
                <a:solidFill>
                  <a:schemeClr val="tx1"/>
                </a:solidFill>
              </a:defRPr>
            </a:lvl1pPr>
          </a:lstStyle>
          <a:p>
            <a:r>
              <a:rPr lang="pt-BR"/>
              <a:t>INSERT MAIN TITLE AT 36PT MIN 30PT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60665" y="690207"/>
            <a:ext cx="11474881" cy="369332"/>
          </a:xfrm>
        </p:spPr>
        <p:txBody>
          <a:bodyPr>
            <a:spAutoFit/>
          </a:bodyPr>
          <a:lstStyle>
            <a:lvl1pPr algn="l" rtl="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pt-BR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692451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A9C40F-9E3D-431B-A0C0-4FD2DCD52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9534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A9C40F-9E3D-431B-A0C0-4FD2DCD52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3" y="1828805"/>
            <a:ext cx="8572500" cy="468947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marL="385754" indent="-172637" rtl="0">
              <a:buFont typeface="Graphik" panose="020B0503030202060203" pitchFamily="34" charset="0"/>
              <a:buChar char="–"/>
              <a:defRPr/>
            </a:lvl3pPr>
            <a:lvl5pPr marL="642922" indent="-133347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pt-BR"/>
              <a:t>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649672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B733A5-DB43-43AC-945C-B5A493FD61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932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B733A5-DB43-43AC-945C-B5A493FD61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3" y="1828805"/>
            <a:ext cx="8572500" cy="468947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marL="385754" indent="-172637" rtl="0">
              <a:buFont typeface="Graphik" panose="020B0503030202060203" pitchFamily="34" charset="0"/>
              <a:buChar char="–"/>
              <a:defRPr/>
            </a:lvl3pPr>
            <a:lvl5pPr marL="642922" indent="-133347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pt-BR"/>
              <a:t>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890419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42420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4" imgH="595" progId="TCLayout.ActiveDocument.1">
                  <p:embed/>
                </p:oleObj>
              </mc:Choice>
              <mc:Fallback>
                <p:oleObj name="think-cell Slide" r:id="rId3" imgW="594" imgH="59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30878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5BBCD6-30CE-4B2D-8720-CAE4C0293A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0209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5BBCD6-30CE-4B2D-8720-CAE4C0293A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29482"/>
            <a:ext cx="10515600" cy="573755"/>
          </a:xfrm>
        </p:spPr>
        <p:txBody>
          <a:bodyPr vert="horz"/>
          <a:lstStyle>
            <a:lvl1pPr>
              <a:defRPr sz="3000"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046776"/>
            <a:ext cx="11430000" cy="39703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</a:lstStyle>
          <a:p>
            <a:pPr lvl="0"/>
            <a:r>
              <a:rPr lang="pt-B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23300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4D679E9-61DC-4975-A171-0A3FE17B46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8204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4D679E9-61DC-4975-A171-0A3FE17B46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63794" y="286088"/>
            <a:ext cx="10515600" cy="510326"/>
          </a:xfrm>
        </p:spPr>
        <p:txBody>
          <a:bodyPr vert="horz"/>
          <a:lstStyle>
            <a:lvl1pPr>
              <a:defRPr sz="3000"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948869"/>
            <a:ext cx="11430000" cy="39703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</a:lstStyle>
          <a:p>
            <a:pPr lvl="0"/>
            <a:r>
              <a:rPr lang="pt-B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75582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On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8D1DF11-64D7-450B-92C0-FFBB3964A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9832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pt-BR"/>
              <a:t>Insert Main Title at 30pt min 24p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D014BF2-29ED-4F86-8E66-84D518F6F1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>
            <a:off x="1336455" y="2180388"/>
            <a:ext cx="7196757" cy="442426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8B7312A0-85BC-4A85-9978-0232B5B0688C}"/>
              </a:ext>
            </a:extLst>
          </p:cNvPr>
          <p:cNvSpPr/>
          <p:nvPr userDrawn="1"/>
        </p:nvSpPr>
        <p:spPr>
          <a:xfrm>
            <a:off x="2087067" y="2485198"/>
            <a:ext cx="194170" cy="194170"/>
          </a:xfrm>
          <a:prstGeom prst="ellipse">
            <a:avLst/>
          </a:prstGeom>
          <a:solidFill>
            <a:schemeClr val="bg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211152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allout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AA8DA35-349C-4967-840C-C8706D12D3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AA8DA35-349C-4967-840C-C8706D12D3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0869C29-7738-4CE2-80CE-337012E57E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pt-BR" sz="4000" b="1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8804" y="6571214"/>
            <a:ext cx="770951" cy="138499"/>
          </a:xfrm>
        </p:spPr>
        <p:txBody>
          <a:bodyPr/>
          <a:lstStyle/>
          <a:p>
            <a:endParaRPr lang="pt-BR">
              <a:solidFill>
                <a:srgbClr val="919191"/>
              </a:solidFill>
            </a:endParaRPr>
          </a:p>
        </p:txBody>
      </p:sp>
      <p:sp>
        <p:nvSpPr>
          <p:cNvPr id="13" name="Rectangle 130">
            <a:extLst>
              <a:ext uri="{FF2B5EF4-FFF2-40B4-BE49-F238E27FC236}">
                <a16:creationId xmlns:a16="http://schemas.microsoft.com/office/drawing/2014/main" id="{C6E4A581-70FC-694D-97C3-42ECAF12DD16}"/>
              </a:ext>
            </a:extLst>
          </p:cNvPr>
          <p:cNvSpPr/>
          <p:nvPr userDrawn="1"/>
        </p:nvSpPr>
        <p:spPr>
          <a:xfrm>
            <a:off x="12292683" y="0"/>
            <a:ext cx="216000" cy="2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00"/>
          </a:p>
        </p:txBody>
      </p:sp>
      <p:sp>
        <p:nvSpPr>
          <p:cNvPr id="14" name="Rectangle 131">
            <a:extLst>
              <a:ext uri="{FF2B5EF4-FFF2-40B4-BE49-F238E27FC236}">
                <a16:creationId xmlns:a16="http://schemas.microsoft.com/office/drawing/2014/main" id="{B0232228-032E-4C4D-9980-86B0344E227A}"/>
              </a:ext>
            </a:extLst>
          </p:cNvPr>
          <p:cNvSpPr/>
          <p:nvPr userDrawn="1"/>
        </p:nvSpPr>
        <p:spPr>
          <a:xfrm>
            <a:off x="12292683" y="261750"/>
            <a:ext cx="216000" cy="21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/>
          </a:p>
        </p:txBody>
      </p:sp>
      <p:sp>
        <p:nvSpPr>
          <p:cNvPr id="15" name="Rectangle 132">
            <a:extLst>
              <a:ext uri="{FF2B5EF4-FFF2-40B4-BE49-F238E27FC236}">
                <a16:creationId xmlns:a16="http://schemas.microsoft.com/office/drawing/2014/main" id="{2611123A-D434-4D48-B100-36975DE97169}"/>
              </a:ext>
            </a:extLst>
          </p:cNvPr>
          <p:cNvSpPr/>
          <p:nvPr userDrawn="1"/>
        </p:nvSpPr>
        <p:spPr>
          <a:xfrm>
            <a:off x="12292683" y="523500"/>
            <a:ext cx="216000" cy="21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bg1"/>
              </a:solidFill>
            </a:endParaRPr>
          </a:p>
        </p:txBody>
      </p:sp>
      <p:sp>
        <p:nvSpPr>
          <p:cNvPr id="16" name="Rectangle 133">
            <a:extLst>
              <a:ext uri="{FF2B5EF4-FFF2-40B4-BE49-F238E27FC236}">
                <a16:creationId xmlns:a16="http://schemas.microsoft.com/office/drawing/2014/main" id="{DB9B476A-6FF1-8E47-9CC5-CB0C955226A7}"/>
              </a:ext>
            </a:extLst>
          </p:cNvPr>
          <p:cNvSpPr/>
          <p:nvPr userDrawn="1"/>
        </p:nvSpPr>
        <p:spPr>
          <a:xfrm>
            <a:off x="12292683" y="1308750"/>
            <a:ext cx="216000" cy="216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/>
          </a:p>
        </p:txBody>
      </p:sp>
      <p:sp>
        <p:nvSpPr>
          <p:cNvPr id="17" name="Rectangle 134">
            <a:extLst>
              <a:ext uri="{FF2B5EF4-FFF2-40B4-BE49-F238E27FC236}">
                <a16:creationId xmlns:a16="http://schemas.microsoft.com/office/drawing/2014/main" id="{36C655EA-D5A8-8C4F-8219-4B1BDDBBDF9F}"/>
              </a:ext>
            </a:extLst>
          </p:cNvPr>
          <p:cNvSpPr/>
          <p:nvPr userDrawn="1"/>
        </p:nvSpPr>
        <p:spPr>
          <a:xfrm>
            <a:off x="12292683" y="1047000"/>
            <a:ext cx="216000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bg1"/>
              </a:solidFill>
            </a:endParaRPr>
          </a:p>
        </p:txBody>
      </p:sp>
      <p:sp>
        <p:nvSpPr>
          <p:cNvPr id="18" name="Rectangle 135">
            <a:extLst>
              <a:ext uri="{FF2B5EF4-FFF2-40B4-BE49-F238E27FC236}">
                <a16:creationId xmlns:a16="http://schemas.microsoft.com/office/drawing/2014/main" id="{59B9DCA7-0BED-F146-AF80-B14F0ACCC4E4}"/>
              </a:ext>
            </a:extLst>
          </p:cNvPr>
          <p:cNvSpPr/>
          <p:nvPr userDrawn="1"/>
        </p:nvSpPr>
        <p:spPr>
          <a:xfrm>
            <a:off x="12292683" y="785250"/>
            <a:ext cx="216000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>
              <a:solidFill>
                <a:schemeClr val="bg1"/>
              </a:solidFill>
            </a:endParaRPr>
          </a:p>
        </p:txBody>
      </p:sp>
      <p:sp>
        <p:nvSpPr>
          <p:cNvPr id="19" name="Rectangle 157">
            <a:extLst>
              <a:ext uri="{FF2B5EF4-FFF2-40B4-BE49-F238E27FC236}">
                <a16:creationId xmlns:a16="http://schemas.microsoft.com/office/drawing/2014/main" id="{4F59CE0A-818F-9B46-ACFE-119C0C86CF63}"/>
              </a:ext>
            </a:extLst>
          </p:cNvPr>
          <p:cNvSpPr/>
          <p:nvPr userDrawn="1"/>
        </p:nvSpPr>
        <p:spPr>
          <a:xfrm>
            <a:off x="12292683" y="1570500"/>
            <a:ext cx="216000" cy="21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pt-BR" sz="1100">
              <a:solidFill>
                <a:schemeClr val="tx1"/>
              </a:solidFill>
            </a:endParaRPr>
          </a:p>
        </p:txBody>
      </p:sp>
      <p:sp>
        <p:nvSpPr>
          <p:cNvPr id="20" name="Rectangle 158">
            <a:extLst>
              <a:ext uri="{FF2B5EF4-FFF2-40B4-BE49-F238E27FC236}">
                <a16:creationId xmlns:a16="http://schemas.microsoft.com/office/drawing/2014/main" id="{A2CB87AB-D435-AC40-A876-F162AE20B50D}"/>
              </a:ext>
            </a:extLst>
          </p:cNvPr>
          <p:cNvSpPr/>
          <p:nvPr userDrawn="1"/>
        </p:nvSpPr>
        <p:spPr>
          <a:xfrm>
            <a:off x="12292683" y="1832250"/>
            <a:ext cx="216000" cy="216000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00"/>
          </a:p>
        </p:txBody>
      </p:sp>
      <p:sp>
        <p:nvSpPr>
          <p:cNvPr id="21" name="Rectangle 159">
            <a:extLst>
              <a:ext uri="{FF2B5EF4-FFF2-40B4-BE49-F238E27FC236}">
                <a16:creationId xmlns:a16="http://schemas.microsoft.com/office/drawing/2014/main" id="{9B798728-A0D2-8347-82E7-8AC9FE4F4E29}"/>
              </a:ext>
            </a:extLst>
          </p:cNvPr>
          <p:cNvSpPr/>
          <p:nvPr userDrawn="1"/>
        </p:nvSpPr>
        <p:spPr>
          <a:xfrm>
            <a:off x="12292683" y="2094001"/>
            <a:ext cx="216000" cy="2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1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057B7D-7B65-DD4A-AE65-1946D68974F3}"/>
              </a:ext>
            </a:extLst>
          </p:cNvPr>
          <p:cNvSpPr txBox="1"/>
          <p:nvPr userDrawn="1"/>
        </p:nvSpPr>
        <p:spPr>
          <a:xfrm>
            <a:off x="10014857" y="217714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pt-BR" sz="160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43B68F6-A68A-9440-B4E1-D53434087FE9}"/>
              </a:ext>
            </a:extLst>
          </p:cNvPr>
          <p:cNvGrpSpPr/>
          <p:nvPr userDrawn="1"/>
        </p:nvGrpSpPr>
        <p:grpSpPr>
          <a:xfrm>
            <a:off x="12292683" y="2495532"/>
            <a:ext cx="216000" cy="1660928"/>
            <a:chOff x="6096000" y="909144"/>
            <a:chExt cx="446690" cy="3525053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F9AEFBA-5E66-4643-B273-7D47FD10ABA1}"/>
                </a:ext>
              </a:extLst>
            </p:cNvPr>
            <p:cNvSpPr/>
            <p:nvPr/>
          </p:nvSpPr>
          <p:spPr>
            <a:xfrm>
              <a:off x="6096000" y="1937016"/>
              <a:ext cx="446690" cy="441435"/>
            </a:xfrm>
            <a:prstGeom prst="rect">
              <a:avLst/>
            </a:prstGeom>
            <a:solidFill>
              <a:srgbClr val="0099D0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13C6F0D-C679-F643-99B2-B8819CB03D55}"/>
                </a:ext>
              </a:extLst>
            </p:cNvPr>
            <p:cNvSpPr/>
            <p:nvPr/>
          </p:nvSpPr>
          <p:spPr>
            <a:xfrm>
              <a:off x="6096000" y="909144"/>
              <a:ext cx="446690" cy="441435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70EE77A-81B4-B741-A1DB-D68373F1A5E1}"/>
                </a:ext>
              </a:extLst>
            </p:cNvPr>
            <p:cNvSpPr/>
            <p:nvPr/>
          </p:nvSpPr>
          <p:spPr>
            <a:xfrm>
              <a:off x="6096000" y="2450952"/>
              <a:ext cx="446690" cy="441435"/>
            </a:xfrm>
            <a:prstGeom prst="rect">
              <a:avLst/>
            </a:prstGeom>
            <a:solidFill>
              <a:srgbClr val="00B0F0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EA7B641-C675-B84B-91A6-B3D73D6E7748}"/>
                </a:ext>
              </a:extLst>
            </p:cNvPr>
            <p:cNvSpPr/>
            <p:nvPr/>
          </p:nvSpPr>
          <p:spPr>
            <a:xfrm>
              <a:off x="6096000" y="2964888"/>
              <a:ext cx="446690" cy="441435"/>
            </a:xfrm>
            <a:prstGeom prst="rect">
              <a:avLst/>
            </a:prstGeom>
            <a:solidFill>
              <a:srgbClr val="9DC3E6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9A7DEA6-E6B7-EC46-9207-56993D9338BA}"/>
                </a:ext>
              </a:extLst>
            </p:cNvPr>
            <p:cNvSpPr/>
            <p:nvPr/>
          </p:nvSpPr>
          <p:spPr>
            <a:xfrm>
              <a:off x="6096000" y="3478824"/>
              <a:ext cx="446690" cy="441435"/>
            </a:xfrm>
            <a:prstGeom prst="rect">
              <a:avLst/>
            </a:prstGeom>
            <a:solidFill>
              <a:srgbClr val="DEEBF7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1040CA9-8D53-DF44-8106-33C8B2D08756}"/>
                </a:ext>
              </a:extLst>
            </p:cNvPr>
            <p:cNvSpPr/>
            <p:nvPr/>
          </p:nvSpPr>
          <p:spPr>
            <a:xfrm>
              <a:off x="6096000" y="3992762"/>
              <a:ext cx="446690" cy="441435"/>
            </a:xfrm>
            <a:prstGeom prst="rect">
              <a:avLst/>
            </a:prstGeom>
            <a:solidFill>
              <a:srgbClr val="BFBFBF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2A20DB8-629F-D444-BD50-093D1A0B7C0E}"/>
                </a:ext>
              </a:extLst>
            </p:cNvPr>
            <p:cNvSpPr/>
            <p:nvPr/>
          </p:nvSpPr>
          <p:spPr>
            <a:xfrm>
              <a:off x="6096000" y="1423080"/>
              <a:ext cx="446690" cy="441435"/>
            </a:xfrm>
            <a:prstGeom prst="rect">
              <a:avLst/>
            </a:prstGeom>
            <a:solidFill>
              <a:srgbClr val="0E5F9F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33" name="Titel 1">
            <a:extLst>
              <a:ext uri="{FF2B5EF4-FFF2-40B4-BE49-F238E27FC236}">
                <a16:creationId xmlns:a16="http://schemas.microsoft.com/office/drawing/2014/main" id="{649E9837-AF24-0844-85A6-010E842DE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1"/>
            <a:ext cx="5910943" cy="9277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3F5EC6B0-2233-AC4D-8FAB-DD1A730B5D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00698" y="381001"/>
            <a:ext cx="5519057" cy="3139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0">
                <a:solidFill>
                  <a:srgbClr val="224E80"/>
                </a:solidFill>
              </a:defRPr>
            </a:lvl1pPr>
          </a:lstStyle>
          <a:p>
            <a:pPr lvl="0"/>
            <a:r>
              <a:rPr lang="pt-BR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83476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EE9706-BAC5-4069-AD74-C26B67385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459" y="365126"/>
            <a:ext cx="11425084" cy="824578"/>
          </a:xfrm>
        </p:spPr>
        <p:txBody>
          <a:bodyPr/>
          <a:lstStyle>
            <a:lvl1pPr>
              <a:defRPr/>
            </a:lvl1pPr>
          </a:lstStyle>
          <a:p>
            <a:r>
              <a:rPr lang="pt-BR"/>
              <a:t>ONE COLUM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521C2C-E7F9-492C-AF2A-874D593CF4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4BFBA5-6622-4657-A915-630FEC1BA0AA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DA5E60-F149-4ABE-BD6A-3FEC7A0CE3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3459" y="1273631"/>
            <a:ext cx="11425083" cy="5072741"/>
          </a:xfrm>
        </p:spPr>
        <p:txBody>
          <a:bodyPr numCol="1" spcCol="365760"/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7110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tings + Greater Than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912228"/>
            <a:ext cx="7040753" cy="1033548"/>
          </a:xfrm>
        </p:spPr>
        <p:txBody>
          <a:bodyPr tIns="36000" bIns="0" anchor="ctr">
            <a:spAutoFit/>
          </a:bodyPr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pt-BR"/>
              <a:t>Bem-vind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2314836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AAD405-2738-4AFD-83D9-104662320C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TITL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BF0207-F925-4457-9A83-D1AA046744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4BFBA5-6622-4657-A915-630FEC1BA0AA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36205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A79FA9C-1C87-4331-AB59-C1086C0193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7832697-F3FC-418F-9F4F-88E807942A0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91999" cy="5540525"/>
          </a:xfrm>
          <a:prstGeom prst="flowChartDocumen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CDA868DB-20BF-43CC-B578-D3EE82015951}"/>
              </a:ext>
            </a:extLst>
          </p:cNvPr>
          <p:cNvSpPr txBox="1">
            <a:spLocks/>
          </p:cNvSpPr>
          <p:nvPr userDrawn="1"/>
        </p:nvSpPr>
        <p:spPr>
          <a:xfrm>
            <a:off x="7941318" y="6671561"/>
            <a:ext cx="4114800" cy="1404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pt-BR"/>
            </a:defPPr>
            <a:lvl1pPr marL="0" algn="r" defTabSz="914400" rtl="0" eaLnBrk="1" latinLnBrk="0" hangingPunct="1">
              <a:defRPr sz="900" kern="1200">
                <a:solidFill>
                  <a:srgbClr val="8989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t-BR" sz="700" b="0" i="0">
                <a:effectLst/>
                <a:latin typeface="Arial" panose="020B0604020202020204" pitchFamily="34" charset="0"/>
              </a:rPr>
              <a:t>Copyright © 2022 Accenture. Todos os direitos reservados</a:t>
            </a:r>
          </a:p>
        </p:txBody>
      </p:sp>
    </p:spTree>
    <p:extLst>
      <p:ext uri="{BB962C8B-B14F-4D97-AF65-F5344CB8AC3E}">
        <p14:creationId xmlns:p14="http://schemas.microsoft.com/office/powerpoint/2010/main" val="147890765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798351"/>
            <a:ext cx="11430002" cy="2756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000" b="1" cap="all" baseline="0">
                <a:solidFill>
                  <a:schemeClr val="accent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0" cap="all" baseline="0">
                <a:latin typeface="+mj-lt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pt-BR"/>
              <a:t>First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0999" y="381000"/>
            <a:ext cx="11430001" cy="376711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pt-B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04556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pt-BR" smtClean="0"/>
              <a:pPr>
                <a:defRPr/>
              </a:pPr>
              <a:t>‹#›</a:t>
            </a:fld>
            <a:endParaRPr lang="pt-BR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5464" y="1"/>
            <a:ext cx="10941073" cy="1095121"/>
          </a:xfrm>
        </p:spPr>
        <p:txBody>
          <a:bodyPr/>
          <a:lstStyle>
            <a:lvl1pPr>
              <a:defRPr sz="2200"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25464" y="1163369"/>
            <a:ext cx="1094107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pt-B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3788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Title Only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F6ADD3D0-1D2B-4AC5-BA58-F6A09445C4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1"/>
            <a:ext cx="11430000" cy="72643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pt-BR"/>
              <a:t>Insert Main Title at 36pt min 30pt</a:t>
            </a:r>
          </a:p>
        </p:txBody>
      </p:sp>
    </p:spTree>
    <p:extLst>
      <p:ext uri="{BB962C8B-B14F-4D97-AF65-F5344CB8AC3E}">
        <p14:creationId xmlns:p14="http://schemas.microsoft.com/office/powerpoint/2010/main" val="41322840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E89DBE-35C1-48CB-B228-0B5D586886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E89DBE-35C1-48CB-B228-0B5D586886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9C65B8B-86A3-4C7E-9CDD-D0EA5562E9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134738"/>
            <a:ext cx="11430000" cy="311196"/>
          </a:xfrm>
        </p:spPr>
        <p:txBody>
          <a:bodyPr/>
          <a:lstStyle>
            <a:lvl1pPr marL="0" indent="0">
              <a:lnSpc>
                <a:spcPts val="2500"/>
              </a:lnSpc>
              <a:buNone/>
              <a:defRPr sz="2000" b="1">
                <a:solidFill>
                  <a:srgbClr val="006F7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pt-BR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40508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subtitulo-Usar E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C1F22A-0876-466F-94DB-EAE637587F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763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C1F22A-0876-466F-94DB-EAE637587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0999" y="700005"/>
            <a:ext cx="11429999" cy="341632"/>
          </a:xfrm>
        </p:spPr>
        <p:txBody>
          <a:bodyPr>
            <a:spAutoFit/>
          </a:bodyPr>
          <a:lstStyle>
            <a:lvl1pPr marL="0" indent="0">
              <a:buNone/>
              <a:defRPr sz="1800">
                <a:latin typeface="Graphik (Headings)"/>
              </a:defRPr>
            </a:lvl1pPr>
            <a:lvl2pPr>
              <a:defRPr>
                <a:latin typeface="Graphik (Headings)"/>
              </a:defRPr>
            </a:lvl2pPr>
            <a:lvl3pPr marL="536575" indent="-182563">
              <a:buFont typeface="Arial" panose="020B0604020202020204" pitchFamily="34" charset="0"/>
              <a:buChar char="-"/>
              <a:defRPr>
                <a:latin typeface="Graphik (Headings)"/>
              </a:defRPr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pt-BR"/>
              <a:t>CLICK TO EDIT MASTER TEXT STYLES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248264"/>
            <a:ext cx="11430000" cy="400110"/>
          </a:xfrm>
        </p:spPr>
        <p:txBody>
          <a:bodyPr vert="horz">
            <a:norm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41357775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96327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44" imgH="443" progId="TCLayout.ActiveDocument.1">
                  <p:embed/>
                </p:oleObj>
              </mc:Choice>
              <mc:Fallback>
                <p:oleObj name="think-cell Slide" r:id="rId5" imgW="444" imgH="44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F8D689-E228-4567-9FB9-5CA0CBCC2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pt-BR" sz="3200" b="0" i="0" baseline="0">
              <a:solidFill>
                <a:schemeClr val="bg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Do not remove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45019" y="332078"/>
            <a:ext cx="11491381" cy="423828"/>
          </a:xfrm>
        </p:spPr>
        <p:txBody>
          <a:bodyPr vert="horz" wrap="square" lIns="0" tIns="36000" rIns="144000" bIns="3600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3200" b="0" i="0" cap="none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8" y="755904"/>
            <a:ext cx="11491383" cy="524933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spcBef>
                <a:spcPts val="0"/>
              </a:spcBef>
              <a:defRPr sz="2000" b="1" cap="none" spc="0" baseline="0">
                <a:solidFill>
                  <a:schemeClr val="accent4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749930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437464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069EEA-9E70-8049-B31C-4D59E4B7927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1B882E3-AA57-DB47-B7F5-4E115F25E2D7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6AF662F-5FB5-374D-A851-A69DE83E0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637" y="444948"/>
            <a:ext cx="5641364" cy="10304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defRPr sz="3200" b="1" i="0">
                <a:latin typeface="Graphik" panose="020B0503030202060203" pitchFamily="34" charset="77"/>
              </a:defRPr>
            </a:lvl1pPr>
          </a:lstStyle>
          <a:p>
            <a:pPr lvl="0"/>
            <a:r>
              <a:rPr lang="pt-BR"/>
              <a:t>Click to edit this master title</a:t>
            </a:r>
          </a:p>
        </p:txBody>
      </p:sp>
    </p:spTree>
    <p:extLst>
      <p:ext uri="{BB962C8B-B14F-4D97-AF65-F5344CB8AC3E}">
        <p14:creationId xmlns:p14="http://schemas.microsoft.com/office/powerpoint/2010/main" val="3142986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 - Centered, G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pt-BR" noProof="0"/>
              <a:t>Format Background… &gt; Picture or texture fill &gt; Set to one of the provided selections in the image library</a:t>
            </a:r>
          </a:p>
        </p:txBody>
      </p:sp>
      <p:pic>
        <p:nvPicPr>
          <p:cNvPr id="2" name="Picture 1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3C7C075D-013F-4D6D-8EA2-7E4465FC22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0607" y="5376231"/>
            <a:ext cx="670786" cy="710244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2262409"/>
            <a:ext cx="7948244" cy="1329595"/>
          </a:xfrm>
        </p:spPr>
        <p:txBody>
          <a:bodyPr anchor="b">
            <a:spAutoFit/>
          </a:bodyPr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pt-BR"/>
              <a:t>Place presentation title here 48p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Dat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332399"/>
          </a:xfrm>
        </p:spPr>
        <p:txBody>
          <a:bodyPr vert="horz" lIns="0" tIns="0" rIns="0" bIns="0" rtlCol="0">
            <a:sp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Bk" panose="000004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pt-BR"/>
              <a:t>Place subtitle here in GT Sectra Fine 24pt</a:t>
            </a:r>
          </a:p>
        </p:txBody>
      </p:sp>
    </p:spTree>
    <p:extLst>
      <p:ext uri="{BB962C8B-B14F-4D97-AF65-F5344CB8AC3E}">
        <p14:creationId xmlns:p14="http://schemas.microsoft.com/office/powerpoint/2010/main" val="24814258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9727953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1001"/>
            <a:ext cx="5715000" cy="990601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pt-B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720499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_1_I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TS_Technology_KEYLINE_darkBG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4" name="GTS_Technology_KEYLINE_lightBG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7" name="GTS_Technology_GRADIENT_darkBG" hidden="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3" name="GTS_Technology_GRADIENT_lightBG" hidden="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99" name="Acc_TechnologyWHITE" hidden="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8199" y="316230"/>
            <a:ext cx="3429289" cy="616064"/>
          </a:xfrm>
          <a:prstGeom prst="rect">
            <a:avLst/>
          </a:prstGeom>
        </p:spPr>
      </p:pic>
      <p:pic>
        <p:nvPicPr>
          <p:cNvPr id="11" name="GTS_Strategy_KEYLINE" hidden="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12" name="GTS_Strategy_DIMENSIONAL_darkBG" hidden="1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100" name="Acc_StrategyBLACK" hidden="1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3439" y="364404"/>
            <a:ext cx="2928653" cy="528241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9886" y="352484"/>
            <a:ext cx="2959986" cy="534474"/>
          </a:xfrm>
          <a:prstGeom prst="rect">
            <a:avLst/>
          </a:prstGeom>
        </p:spPr>
      </p:pic>
      <p:pic>
        <p:nvPicPr>
          <p:cNvPr id="20" name="GTS_Operations_KEYLINE_darkBG" hidden="1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17" name="GTS_Operations_KEYLINE_lightBG" hidden="1"/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19" name="GTS_Operations_GRADIENT_darkBG" hidden="1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16" name="GTS_Operations_GRADIENT_lightBG" hidden="1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15" name="GTS_Operations_DIMENSIONAL" hidden="1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102" name="Acc_OperationsWHITE" hidden="1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8270" y="330697"/>
            <a:ext cx="3289647" cy="594000"/>
          </a:xfrm>
          <a:prstGeom prst="rect">
            <a:avLst/>
          </a:prstGeom>
        </p:spPr>
      </p:pic>
      <p:pic>
        <p:nvPicPr>
          <p:cNvPr id="105" name="Acc_OperationsBLACK" hidden="1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539" y="323850"/>
            <a:ext cx="3279738" cy="592211"/>
          </a:xfrm>
          <a:prstGeom prst="rect">
            <a:avLst/>
          </a:prstGeom>
        </p:spPr>
      </p:pic>
      <p:pic>
        <p:nvPicPr>
          <p:cNvPr id="106" name="Acc_MobilityBLACK" hidden="1"/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9886" y="535771"/>
            <a:ext cx="3428874" cy="527679"/>
          </a:xfrm>
          <a:prstGeom prst="rect">
            <a:avLst/>
          </a:prstGeom>
        </p:spPr>
      </p:pic>
      <p:pic>
        <p:nvPicPr>
          <p:cNvPr id="107" name="Acc_MobilityWHITE" hidden="1"/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9886" y="535771"/>
            <a:ext cx="3432534" cy="529200"/>
          </a:xfrm>
          <a:prstGeom prst="rect">
            <a:avLst/>
          </a:prstGeom>
        </p:spPr>
      </p:pic>
      <p:pic>
        <p:nvPicPr>
          <p:cNvPr id="108" name="Acc_InteractiveBLACK" hidden="1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9886" y="539330"/>
            <a:ext cx="3441915" cy="518986"/>
          </a:xfrm>
          <a:prstGeom prst="rect">
            <a:avLst/>
          </a:prstGeom>
        </p:spPr>
      </p:pic>
      <p:pic>
        <p:nvPicPr>
          <p:cNvPr id="109" name="Acc_InteractiveWHITE" hidden="1"/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9886" y="539330"/>
            <a:ext cx="3438448" cy="518400"/>
          </a:xfrm>
          <a:prstGeom prst="rect">
            <a:avLst/>
          </a:prstGeom>
        </p:spPr>
      </p:pic>
      <p:pic>
        <p:nvPicPr>
          <p:cNvPr id="110" name="Acc_AnalyticsBLACK" hidden="1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8199" y="536367"/>
            <a:ext cx="3427602" cy="528604"/>
          </a:xfrm>
          <a:prstGeom prst="rect">
            <a:avLst/>
          </a:prstGeom>
        </p:spPr>
      </p:pic>
      <p:pic>
        <p:nvPicPr>
          <p:cNvPr id="111" name="Acc_AnalyticsWHITE" hidden="1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8199" y="536367"/>
            <a:ext cx="3441915" cy="529200"/>
          </a:xfrm>
          <a:prstGeom prst="rect">
            <a:avLst/>
          </a:prstGeom>
        </p:spPr>
      </p:pic>
      <p:pic>
        <p:nvPicPr>
          <p:cNvPr id="24" name="GTS_Digital_KEYLINE_darkBG" hidden="1"/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23" name="GTS_Digital_KEYLINE_lightBG" hidden="1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25" name="GTS_Digital_GRADIENT_darkBG" hidden="1"/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22" name="GTS_Digital_GRADIENT_lightBG" hidden="1"/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26" name="GTS_Digital_DIMENSIONAL_darkBG" hidden="1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21" name="GTS_Digital_DIMENSIONAL_lightBG" hidden="1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112" name="Acc_DigitalWHITE" hidden="1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3350" y="375939"/>
            <a:ext cx="2580922" cy="499972"/>
          </a:xfrm>
          <a:prstGeom prst="rect">
            <a:avLst/>
          </a:prstGeom>
        </p:spPr>
      </p:pic>
      <p:pic>
        <p:nvPicPr>
          <p:cNvPr id="113" name="Acc_DigitalBLACK" hidden="1"/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3350" y="376328"/>
            <a:ext cx="2578382" cy="499643"/>
          </a:xfrm>
          <a:prstGeom prst="rect">
            <a:avLst/>
          </a:prstGeom>
        </p:spPr>
      </p:pic>
      <p:pic>
        <p:nvPicPr>
          <p:cNvPr id="35" name="GTS_Consulting_KEYLINE_darkBG" hidden="1"/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30" name="GTS_Consulting_KEYLINE_lightBG" hidden="1"/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34" name="GTS_Consulting_GRADIENT_darkBG" hidden="1"/>
          <p:cNvPicPr>
            <a:picLocks noChangeAspect="1"/>
          </p:cNvPicPr>
          <p:nvPr userDrawn="1"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29" name="GTS_Consulting_GRADIENT_lightBG" hidden="1"/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28" name="GTS_Consulting_DIMENSIONAL" hidden="1"/>
          <p:cNvPicPr>
            <a:picLocks noChangeAspect="1"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6" cy="6076800"/>
          </a:xfrm>
          <a:prstGeom prst="rect">
            <a:avLst/>
          </a:prstGeom>
        </p:spPr>
      </p:pic>
      <p:pic>
        <p:nvPicPr>
          <p:cNvPr id="114" name="Acc_ConsultingWHITE" hidden="1"/>
          <p:cNvPicPr>
            <a:picLocks noChangeAspect="1"/>
          </p:cNvPicPr>
          <p:nvPr userDrawn="1"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3350" y="336750"/>
            <a:ext cx="3225546" cy="578831"/>
          </a:xfrm>
          <a:prstGeom prst="rect">
            <a:avLst/>
          </a:prstGeom>
        </p:spPr>
      </p:pic>
      <p:pic>
        <p:nvPicPr>
          <p:cNvPr id="115" name="Acc_ConsultingBLACK" hidden="1"/>
          <p:cNvPicPr>
            <a:picLocks noChangeAspect="1"/>
          </p:cNvPicPr>
          <p:nvPr userDrawn="1"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3350" y="368779"/>
            <a:ext cx="3225546" cy="507154"/>
          </a:xfrm>
          <a:prstGeom prst="rect">
            <a:avLst/>
          </a:prstGeom>
        </p:spPr>
      </p:pic>
      <p:pic>
        <p:nvPicPr>
          <p:cNvPr id="52" name="GTS_Master_GRADIENT_09" hidden="1"/>
          <p:cNvPicPr>
            <a:picLocks noChangeAspect="1"/>
          </p:cNvPicPr>
          <p:nvPr userDrawn="1"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53" name="GTS_Master_GRADIENT_08" hidden="1"/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54" name="GTS_Master_GRADIENT_07" hidden="1"/>
          <p:cNvPicPr>
            <a:picLocks noChangeAspect="1"/>
          </p:cNvPicPr>
          <p:nvPr userDrawn="1"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55" name="GTS_Master_GRADIENT_06" hidden="1"/>
          <p:cNvPicPr>
            <a:picLocks noChangeAspect="1"/>
          </p:cNvPicPr>
          <p:nvPr userDrawn="1"/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56" name="GTS_Master_DIMENSIONAL_08" hidden="1"/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57" name="GTS_Master_DIMENSIONAL_07" hidden="1"/>
          <p:cNvPicPr>
            <a:picLocks noChangeAspect="1"/>
          </p:cNvPicPr>
          <p:nvPr userDrawn="1"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58" name="GTS_Master_DIMENSIONAL_04" hidden="1"/>
          <p:cNvPicPr>
            <a:picLocks noChangeAspect="1"/>
          </p:cNvPicPr>
          <p:nvPr userDrawn="1"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59" name="GTS_Master_TWO-TONE_05" hidden="1"/>
          <p:cNvPicPr>
            <a:picLocks noChangeAspect="1"/>
          </p:cNvPicPr>
          <p:nvPr userDrawn="1"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60" name="GTS_Master_TWO-TONE_04" hidden="1"/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61" name="GTS_Master_TWO-TONE_03" hidden="1"/>
          <p:cNvPicPr>
            <a:picLocks noChangeAspect="1"/>
          </p:cNvPicPr>
          <p:nvPr userDrawn="1"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62" name="GTS_Master_TWO-TONE_02" hidden="1"/>
          <p:cNvPicPr>
            <a:picLocks noChangeAspect="1"/>
          </p:cNvPicPr>
          <p:nvPr userDrawn="1"/>
        </p:nvPicPr>
        <p:blipFill>
          <a:blip r:embed="rId5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pic>
        <p:nvPicPr>
          <p:cNvPr id="63" name="GTS_Master_TWO-TONE_01" hidden="1"/>
          <p:cNvPicPr>
            <a:picLocks noChangeAspect="1"/>
          </p:cNvPicPr>
          <p:nvPr userDrawn="1"/>
        </p:nvPicPr>
        <p:blipFill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568" y="479658"/>
            <a:ext cx="5857157" cy="6076800"/>
          </a:xfrm>
          <a:prstGeom prst="rect">
            <a:avLst/>
          </a:prstGeom>
        </p:spPr>
      </p:pic>
      <p:grpSp>
        <p:nvGrpSpPr>
          <p:cNvPr id="46" name="Acc_MasterWHITE" hidden="1"/>
          <p:cNvGrpSpPr>
            <a:grpSpLocks noChangeAspect="1"/>
          </p:cNvGrpSpPr>
          <p:nvPr userDrawn="1"/>
        </p:nvGrpSpPr>
        <p:grpSpPr>
          <a:xfrm>
            <a:off x="7750991" y="377724"/>
            <a:ext cx="1664208" cy="446694"/>
            <a:chOff x="9638475" y="1219200"/>
            <a:chExt cx="1389888" cy="373063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" name="Acc_MasterBLACK" hidden="1"/>
          <p:cNvGrpSpPr>
            <a:grpSpLocks noChangeAspect="1"/>
          </p:cNvGrpSpPr>
          <p:nvPr userDrawn="1"/>
        </p:nvGrpSpPr>
        <p:grpSpPr>
          <a:xfrm>
            <a:off x="7750991" y="377724"/>
            <a:ext cx="1664208" cy="446694"/>
            <a:chOff x="9563100" y="1673029"/>
            <a:chExt cx="1389888" cy="373063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5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51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70E6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9376909E-CA3F-470F-B4FC-33C47A38E9A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8792" y="1451728"/>
            <a:ext cx="11472420" cy="49681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5pPr>
              <a:spcBef>
                <a:spcPts val="200"/>
              </a:spcBef>
              <a:spcAft>
                <a:spcPts val="200"/>
              </a:spcAft>
              <a:defRPr sz="1200"/>
            </a:lvl5pPr>
            <a:lvl6pPr>
              <a:spcBef>
                <a:spcPts val="200"/>
              </a:spcBef>
              <a:spcAft>
                <a:spcPts val="200"/>
              </a:spcAft>
              <a:defRPr sz="1200"/>
            </a:lvl6pPr>
          </a:lstStyle>
          <a:p>
            <a:pPr lvl="4"/>
            <a:r>
              <a:rPr lang="pt-BR"/>
              <a:t>Body Level One</a:t>
            </a:r>
          </a:p>
          <a:p>
            <a:pPr lvl="5"/>
            <a:r>
              <a:rPr lang="pt-BR"/>
              <a:t>Body Level Two</a:t>
            </a:r>
          </a:p>
        </p:txBody>
      </p:sp>
      <p:sp>
        <p:nvSpPr>
          <p:cNvPr id="65" name="Title Placeholder 1">
            <a:extLst>
              <a:ext uri="{FF2B5EF4-FFF2-40B4-BE49-F238E27FC236}">
                <a16:creationId xmlns:a16="http://schemas.microsoft.com/office/drawing/2014/main" id="{1E6BFE40-A99B-4317-B519-C5A12EAC3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8792" y="377724"/>
            <a:ext cx="11472420" cy="64037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pt-BR"/>
              <a:t>Title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BD70497-282C-487D-99A7-0D416C6A05E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036442"/>
            <a:ext cx="11499850" cy="330200"/>
          </a:xfrm>
        </p:spPr>
        <p:txBody>
          <a:bodyPr/>
          <a:lstStyle>
            <a:lvl1pPr>
              <a:lnSpc>
                <a:spcPct val="80000"/>
              </a:lnSpc>
              <a:defRPr sz="15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pt-BR"/>
              <a:t>Click to edit Master text styles</a:t>
            </a:r>
          </a:p>
        </p:txBody>
      </p:sp>
      <p:sp>
        <p:nvSpPr>
          <p:cNvPr id="67" name="Footer Placeholder 3">
            <a:extLst>
              <a:ext uri="{FF2B5EF4-FFF2-40B4-BE49-F238E27FC236}">
                <a16:creationId xmlns:a16="http://schemas.microsoft.com/office/drawing/2014/main" id="{070C7110-51B7-4A98-98D9-42F06276C87A}"/>
              </a:ext>
            </a:extLst>
          </p:cNvPr>
          <p:cNvSpPr txBox="1">
            <a:spLocks/>
          </p:cNvSpPr>
          <p:nvPr userDrawn="1"/>
        </p:nvSpPr>
        <p:spPr>
          <a:xfrm>
            <a:off x="7941318" y="6671561"/>
            <a:ext cx="4114800" cy="1404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pt-BR"/>
            </a:defPPr>
            <a:lvl1pPr marL="0" algn="r" defTabSz="914400" rtl="0" eaLnBrk="1" latinLnBrk="0" hangingPunct="1">
              <a:defRPr sz="900" kern="1200">
                <a:solidFill>
                  <a:srgbClr val="8989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t-BR" sz="700" b="0" i="0">
                <a:effectLst/>
                <a:latin typeface="Arial" panose="020B0604020202020204" pitchFamily="34" charset="0"/>
              </a:rPr>
              <a:t>Copyright © 2022 Accenture. Todos os direitos reservados</a:t>
            </a:r>
          </a:p>
        </p:txBody>
      </p:sp>
    </p:spTree>
    <p:extLst>
      <p:ext uri="{BB962C8B-B14F-4D97-AF65-F5344CB8AC3E}">
        <p14:creationId xmlns:p14="http://schemas.microsoft.com/office/powerpoint/2010/main" val="4160950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16">
          <p15:clr>
            <a:srgbClr val="FBAE40"/>
          </p15:clr>
        </p15:guide>
        <p15:guide id="2" pos="7440">
          <p15:clr>
            <a:srgbClr val="FBAE40"/>
          </p15:clr>
        </p15:guide>
        <p15:guide id="3" pos="3768">
          <p15:clr>
            <a:srgbClr val="FBAE40"/>
          </p15:clr>
        </p15:guide>
        <p15:guide id="4" pos="3840">
          <p15:clr>
            <a:srgbClr val="FBAE40"/>
          </p15:clr>
        </p15:guide>
        <p15:guide id="5" orient="horz" pos="4044">
          <p15:clr>
            <a:srgbClr val="FBAE40"/>
          </p15:clr>
        </p15:guide>
        <p15:guide id="6" pos="3913">
          <p15:clr>
            <a:srgbClr val="FBAE40"/>
          </p15:clr>
        </p15:guide>
        <p15:guide id="7" orient="horz" pos="238">
          <p15:clr>
            <a:srgbClr val="FBAE40"/>
          </p15:clr>
        </p15:guide>
        <p15:guide id="8" orient="horz" pos="849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2E1058-ADAF-45E2-92DF-49152C5640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947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2E1058-ADAF-45E2-92DF-49152C564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45017" y="358971"/>
            <a:ext cx="11509200" cy="776139"/>
          </a:xfrm>
        </p:spPr>
        <p:txBody>
          <a:bodyPr vert="horz"/>
          <a:lstStyle>
            <a:lvl1pPr rtl="0">
              <a:lnSpc>
                <a:spcPct val="80000"/>
              </a:lnSpc>
              <a:defRPr sz="2800" baseline="0"/>
            </a:lvl1pPr>
          </a:lstStyle>
          <a:p>
            <a:r>
              <a:rPr lang="pt-BR"/>
              <a:t>CLICK TO EDIT MASTER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345600" y="1763713"/>
            <a:ext cx="11509200" cy="4562475"/>
          </a:xfrm>
        </p:spPr>
        <p:txBody>
          <a:bodyPr>
            <a:noAutofit/>
          </a:bodyPr>
          <a:lstStyle>
            <a:lvl1pPr rtl="0">
              <a:spcBef>
                <a:spcPts val="800"/>
              </a:spcBef>
              <a:defRPr baseline="0"/>
            </a:lvl1pPr>
            <a:lvl2pPr rtl="0">
              <a:spcBef>
                <a:spcPts val="800"/>
              </a:spcBef>
              <a:defRPr>
                <a:solidFill>
                  <a:schemeClr val="tx1"/>
                </a:solidFill>
              </a:defRPr>
            </a:lvl2pPr>
            <a:lvl3pPr rtl="0">
              <a:spcBef>
                <a:spcPts val="800"/>
              </a:spcBef>
              <a:defRPr>
                <a:solidFill>
                  <a:schemeClr val="tx1"/>
                </a:solidFill>
              </a:defRPr>
            </a:lvl3pPr>
            <a:lvl4pPr rtl="0">
              <a:spcBef>
                <a:spcPts val="800"/>
              </a:spcBef>
              <a:defRPr>
                <a:solidFill>
                  <a:schemeClr val="tx1"/>
                </a:solidFill>
              </a:defRPr>
            </a:lvl4pPr>
            <a:lvl5pPr rtl="0">
              <a:spcBef>
                <a:spcPts val="80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800652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5BBCD6-30CE-4B2D-8720-CAE4C0293A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869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5BBCD6-30CE-4B2D-8720-CAE4C0293A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29482"/>
            <a:ext cx="10515600" cy="573755"/>
          </a:xfrm>
        </p:spPr>
        <p:txBody>
          <a:bodyPr vert="horz"/>
          <a:lstStyle>
            <a:lvl1pPr>
              <a:defRPr sz="3000"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046776"/>
            <a:ext cx="11430000" cy="39703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</a:lstStyle>
          <a:p>
            <a:pPr lvl="0"/>
            <a:r>
              <a:rPr lang="pt-B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377518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8FBFE4E-9182-41CA-B002-AC987EF622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763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8FBFE4E-9182-41CA-B002-AC987EF622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79591" y="1310185"/>
            <a:ext cx="11517558" cy="764704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pt-B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73645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teri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B5B521-9DCE-419E-B126-7E0D2E9C84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0344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B5B521-9DCE-419E-B126-7E0D2E9C84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418307" y="303199"/>
            <a:ext cx="11468893" cy="836023"/>
          </a:xfrm>
          <a:prstGeom prst="rect">
            <a:avLst/>
          </a:prstGeom>
          <a:ln>
            <a:noFill/>
          </a:ln>
        </p:spPr>
        <p:txBody>
          <a:bodyPr vert="horz" anchor="ctr"/>
          <a:lstStyle>
            <a:lvl1pPr algn="l" rtl="0">
              <a:defRPr sz="3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pt-BR" altLang="es-ES"/>
              <a:t>Haga clic para modificar el estilo de títul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447614" y="1654519"/>
            <a:ext cx="11439586" cy="3381213"/>
          </a:xfrm>
          <a:prstGeom prst="rect">
            <a:avLst/>
          </a:prstGeom>
        </p:spPr>
        <p:txBody>
          <a:bodyPr/>
          <a:lstStyle>
            <a:lvl1pPr marL="342900" indent="-342900" rtl="0"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00100" indent="-342900" rtl="0">
              <a:buClr>
                <a:schemeClr val="tx2"/>
              </a:buClr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300" indent="-342900" rtl="0"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rtl="0">
              <a:buClr>
                <a:schemeClr val="tx2"/>
              </a:buClr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Haga clic para modificar el estilo de texto del patrón</a:t>
            </a:r>
          </a:p>
          <a:p>
            <a:pPr lvl="1"/>
            <a:r>
              <a:rPr lang="pt-BR"/>
              <a:t>Segundo nivel</a:t>
            </a:r>
          </a:p>
          <a:p>
            <a:pPr lvl="2"/>
            <a:r>
              <a:rPr lang="pt-BR"/>
              <a:t>Tercer nivel</a:t>
            </a:r>
          </a:p>
          <a:p>
            <a:pPr lvl="3"/>
            <a:r>
              <a:rPr lang="pt-BR"/>
              <a:t>Cuarto nivel</a:t>
            </a:r>
          </a:p>
        </p:txBody>
      </p:sp>
    </p:spTree>
    <p:extLst>
      <p:ext uri="{BB962C8B-B14F-4D97-AF65-F5344CB8AC3E}">
        <p14:creationId xmlns:p14="http://schemas.microsoft.com/office/powerpoint/2010/main" val="403310985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049268-ED06-42F5-8002-787D3C4AFC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9819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049268-ED06-42F5-8002-787D3C4AFC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5734" y="1665289"/>
            <a:ext cx="10972453" cy="4716463"/>
          </a:xfrm>
        </p:spPr>
        <p:txBody>
          <a:bodyPr/>
          <a:lstStyle>
            <a:lvl1pPr rtl="0">
              <a:defRPr/>
            </a:lvl1pPr>
            <a:lvl2pPr rtl="0">
              <a:defRPr sz="1600"/>
            </a:lvl2pPr>
            <a:lvl3pPr rtl="0">
              <a:defRPr sz="1400"/>
            </a:lvl3pPr>
            <a:lvl4pPr rtl="0">
              <a:defRPr sz="1200" baseline="0"/>
            </a:lvl4pPr>
            <a:lvl5pPr rtl="0">
              <a:defRPr/>
            </a:lvl5pPr>
          </a:lstStyle>
          <a:p>
            <a:pPr lvl="0"/>
            <a:r>
              <a:rPr lang="pt-BR"/>
              <a:t>Slide copy uses this color (16pt)</a:t>
            </a:r>
          </a:p>
          <a:p>
            <a:pPr lvl="1"/>
            <a:r>
              <a:rPr lang="pt-BR"/>
              <a:t>Bullet point level 1 (16pt)</a:t>
            </a:r>
          </a:p>
          <a:p>
            <a:pPr lvl="2"/>
            <a:r>
              <a:rPr lang="pt-BR"/>
              <a:t>Bullet point level 2 (14pt)</a:t>
            </a:r>
          </a:p>
          <a:p>
            <a:pPr lvl="3"/>
            <a:r>
              <a:rPr lang="pt-BR"/>
              <a:t>Bullet point level 3 (12pt)</a:t>
            </a:r>
          </a:p>
          <a:p>
            <a:pPr lvl="4"/>
            <a:r>
              <a:rPr lang="pt-BR"/>
              <a:t>Bullet point level 4 (11pt)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575734" y="1065437"/>
            <a:ext cx="1097245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b="0" dirty="0" smtClean="0">
                <a:solidFill>
                  <a:schemeClr val="bg1">
                    <a:lumMod val="50000"/>
                  </a:schemeClr>
                </a:solidFill>
                <a:latin typeface="Vodafone Rg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pt-BR"/>
              <a:t>Sub-head uses this color (20pt)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2393" y="0"/>
            <a:ext cx="11517558" cy="764704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pt-B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003967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DB5C1B-32A4-46EC-85EB-1F146CC66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8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9DB5C1B-32A4-46EC-85EB-1F146CC66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1986EA-B600-4DE9-873A-47A5273447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943100"/>
            <a:ext cx="8572500" cy="4284279"/>
          </a:xfrm>
          <a:prstGeom prst="rect">
            <a:avLst/>
          </a:prstGeom>
        </p:spPr>
        <p:txBody>
          <a:bodyPr/>
          <a:lstStyle>
            <a:lvl1pPr rtl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800" b="1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  <a:lvl2pPr rtl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180975" indent="-180975" rtl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4pPr>
            <a:lvl5pPr>
              <a:defRPr kumimoji="0" lang="en-GB" sz="1800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5pPr>
          </a:lstStyle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8D1DF11-64D7-450B-92C0-FFBB3964A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983263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rtl="0">
              <a:defRPr/>
            </a:lvl1pPr>
          </a:lstStyle>
          <a:p>
            <a:r>
              <a:rPr lang="pt-BR"/>
              <a:t>Insert Main Title at 36pt min 30p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7F9B7CA-364C-41A2-B676-D564AF563C1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80999" y="1364265"/>
            <a:ext cx="5399999" cy="341130"/>
          </a:xfrm>
        </p:spPr>
        <p:txBody>
          <a:bodyPr>
            <a:normAutofit/>
          </a:bodyPr>
          <a:lstStyle>
            <a:lvl1pPr rtl="0">
              <a:defRPr sz="1800">
                <a:solidFill>
                  <a:srgbClr val="A100FF"/>
                </a:solidFill>
              </a:defRPr>
            </a:lvl1pPr>
          </a:lstStyle>
          <a:p>
            <a:pPr lvl="0"/>
            <a:r>
              <a:rPr lang="pt-BR"/>
              <a:t>Insert topic</a:t>
            </a:r>
          </a:p>
        </p:txBody>
      </p:sp>
    </p:spTree>
    <p:extLst>
      <p:ext uri="{BB962C8B-B14F-4D97-AF65-F5344CB8AC3E}">
        <p14:creationId xmlns:p14="http://schemas.microsoft.com/office/powerpoint/2010/main" val="405150000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&amp;Subtitl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EAA2A1-F068-4332-91E0-8F499A5CE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8934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EAA2A1-F068-4332-91E0-8F499A5CE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rtl="0"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pt-BR" smtClean="0"/>
              <a:pPr>
                <a:defRPr/>
              </a:pPr>
              <a:t>‹#›</a:t>
            </a:fld>
            <a:endParaRPr lang="pt-BR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204" y="256714"/>
            <a:ext cx="11474881" cy="543475"/>
          </a:xfrm>
        </p:spPr>
        <p:txBody>
          <a:bodyPr vert="horz"/>
          <a:lstStyle>
            <a:lvl1pPr algn="l" rtl="0">
              <a:defRPr sz="2999">
                <a:solidFill>
                  <a:schemeClr val="tx1"/>
                </a:solidFill>
              </a:defRPr>
            </a:lvl1pPr>
          </a:lstStyle>
          <a:p>
            <a:r>
              <a:rPr lang="pt-BR"/>
              <a:t>INSERT MAIN TITLE AT 36PT MIN 30PT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60665" y="690207"/>
            <a:ext cx="11474881" cy="369332"/>
          </a:xfrm>
        </p:spPr>
        <p:txBody>
          <a:bodyPr>
            <a:spAutoFit/>
          </a:bodyPr>
          <a:lstStyle>
            <a:lvl1pPr algn="l" rtl="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pt-BR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1801083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 - Centered,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2262409"/>
            <a:ext cx="7948244" cy="1329595"/>
          </a:xfrm>
        </p:spPr>
        <p:txBody>
          <a:bodyPr anchor="b">
            <a:spAutoFit/>
          </a:bodyPr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pt-BR"/>
              <a:t>Place presentation title here 48p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/>
              <a:t>Dat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332399"/>
          </a:xfrm>
        </p:spPr>
        <p:txBody>
          <a:bodyPr vert="horz" lIns="0" tIns="0" rIns="0" bIns="0" rtlCol="0">
            <a:sp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Bk" panose="000004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pt-BR"/>
              <a:t>Place subtitle here in GT Sectra Fine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pt-BR" noProof="0"/>
              <a:t>Format Background… &gt; Picture or texture fill &gt; Set to one of the provided selections in the image library</a:t>
            </a:r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616000"/>
            <a:ext cx="1884233" cy="4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1970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A9C40F-9E3D-431B-A0C0-4FD2DCD52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149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A9C40F-9E3D-431B-A0C0-4FD2DCD52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3" y="1828805"/>
            <a:ext cx="8572500" cy="468947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marL="385754" indent="-172637" rtl="0">
              <a:buFont typeface="Graphik" panose="020B0503030202060203" pitchFamily="34" charset="0"/>
              <a:buChar char="–"/>
              <a:defRPr/>
            </a:lvl3pPr>
            <a:lvl5pPr marL="642922" indent="-133347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pt-BR"/>
              <a:t>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519407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B733A5-DB43-43AC-945C-B5A493FD61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503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B733A5-DB43-43AC-945C-B5A493FD61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3" y="1828805"/>
            <a:ext cx="8572500" cy="468947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marL="385754" indent="-172637" rtl="0">
              <a:buFont typeface="Graphik" panose="020B0503030202060203" pitchFamily="34" charset="0"/>
              <a:buChar char="–"/>
              <a:defRPr/>
            </a:lvl3pPr>
            <a:lvl5pPr marL="642922" indent="-133347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pt-BR"/>
              <a:t>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23931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865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4" imgH="595" progId="TCLayout.ActiveDocument.1">
                  <p:embed/>
                </p:oleObj>
              </mc:Choice>
              <mc:Fallback>
                <p:oleObj name="think-cell Slide" r:id="rId3" imgW="594" imgH="59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624266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5BBCD6-30CE-4B2D-8720-CAE4C0293A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902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5BBCD6-30CE-4B2D-8720-CAE4C0293A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29482"/>
            <a:ext cx="10515600" cy="573755"/>
          </a:xfrm>
        </p:spPr>
        <p:txBody>
          <a:bodyPr vert="horz"/>
          <a:lstStyle>
            <a:lvl1pPr>
              <a:defRPr sz="3000"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046776"/>
            <a:ext cx="11430000" cy="39703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</a:lstStyle>
          <a:p>
            <a:pPr lvl="0"/>
            <a:r>
              <a:rPr lang="pt-B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523659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4D679E9-61DC-4975-A171-0A3FE17B46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724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4D679E9-61DC-4975-A171-0A3FE17B46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63794" y="286088"/>
            <a:ext cx="10515600" cy="510326"/>
          </a:xfrm>
        </p:spPr>
        <p:txBody>
          <a:bodyPr vert="horz"/>
          <a:lstStyle>
            <a:lvl1pPr>
              <a:defRPr sz="3000"/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948869"/>
            <a:ext cx="11430000" cy="397032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</a:lstStyle>
          <a:p>
            <a:pPr lvl="0"/>
            <a:r>
              <a:rPr lang="pt-B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492913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subtitulo-Usar E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C1F22A-0876-466F-94DB-EAE637587F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464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C1F22A-0876-466F-94DB-EAE637587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0999" y="700005"/>
            <a:ext cx="11429999" cy="341632"/>
          </a:xfrm>
        </p:spPr>
        <p:txBody>
          <a:bodyPr>
            <a:spAutoFit/>
          </a:bodyPr>
          <a:lstStyle>
            <a:lvl1pPr marL="0" indent="0">
              <a:buNone/>
              <a:defRPr sz="1800">
                <a:latin typeface="Graphik (Headings)"/>
              </a:defRPr>
            </a:lvl1pPr>
            <a:lvl2pPr>
              <a:defRPr>
                <a:latin typeface="Graphik (Headings)"/>
              </a:defRPr>
            </a:lvl2pPr>
            <a:lvl3pPr marL="536575" indent="-182563">
              <a:buFont typeface="Arial" panose="020B0604020202020204" pitchFamily="34" charset="0"/>
              <a:buChar char="-"/>
              <a:defRPr>
                <a:latin typeface="Graphik (Headings)"/>
              </a:defRPr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pt-BR"/>
              <a:t>CLICK TO EDIT MASTER TEXT STYLES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248264"/>
            <a:ext cx="11430000" cy="400110"/>
          </a:xfrm>
        </p:spPr>
        <p:txBody>
          <a:bodyPr vert="horz">
            <a:norm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83612168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375766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44" imgH="443" progId="TCLayout.ActiveDocument.1">
                  <p:embed/>
                </p:oleObj>
              </mc:Choice>
              <mc:Fallback>
                <p:oleObj name="think-cell Slide" r:id="rId5" imgW="444" imgH="44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F8D689-E228-4567-9FB9-5CA0CBCC2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pt-BR" sz="3200" b="0" i="0" baseline="0">
              <a:solidFill>
                <a:schemeClr val="bg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Do not remove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45019" y="332078"/>
            <a:ext cx="11491381" cy="423828"/>
          </a:xfrm>
        </p:spPr>
        <p:txBody>
          <a:bodyPr vert="horz" wrap="square" lIns="0" tIns="36000" rIns="144000" bIns="3600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3200" b="0" i="0" cap="none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pt-BR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8" y="755904"/>
            <a:ext cx="11491383" cy="524933"/>
          </a:xfrm>
          <a:prstGeom prst="rect">
            <a:avLst/>
          </a:prstGeom>
        </p:spPr>
        <p:txBody>
          <a:bodyPr lIns="0"/>
          <a:lstStyle>
            <a:lvl1pPr>
              <a:lnSpc>
                <a:spcPct val="80000"/>
              </a:lnSpc>
              <a:spcBef>
                <a:spcPts val="0"/>
              </a:spcBef>
              <a:defRPr sz="2000" b="1" cap="none" spc="0" baseline="0">
                <a:solidFill>
                  <a:schemeClr val="accent4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416201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2E1058-ADAF-45E2-92DF-49152C5640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531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2E1058-ADAF-45E2-92DF-49152C564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45017" y="358971"/>
            <a:ext cx="11509200" cy="776139"/>
          </a:xfrm>
        </p:spPr>
        <p:txBody>
          <a:bodyPr vert="horz"/>
          <a:lstStyle>
            <a:lvl1pPr rtl="0">
              <a:lnSpc>
                <a:spcPct val="80000"/>
              </a:lnSpc>
              <a:defRPr sz="2800" baseline="0"/>
            </a:lvl1pPr>
          </a:lstStyle>
          <a:p>
            <a:r>
              <a:rPr lang="pt-BR"/>
              <a:t>CLICK TO EDIT MASTER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345600" y="1763713"/>
            <a:ext cx="11509200" cy="4562475"/>
          </a:xfrm>
        </p:spPr>
        <p:txBody>
          <a:bodyPr>
            <a:noAutofit/>
          </a:bodyPr>
          <a:lstStyle>
            <a:lvl1pPr rtl="0">
              <a:spcBef>
                <a:spcPts val="800"/>
              </a:spcBef>
              <a:defRPr baseline="0"/>
            </a:lvl1pPr>
            <a:lvl2pPr rtl="0">
              <a:spcBef>
                <a:spcPts val="800"/>
              </a:spcBef>
              <a:defRPr>
                <a:solidFill>
                  <a:schemeClr val="tx1"/>
                </a:solidFill>
              </a:defRPr>
            </a:lvl2pPr>
            <a:lvl3pPr rtl="0">
              <a:spcBef>
                <a:spcPts val="800"/>
              </a:spcBef>
              <a:defRPr>
                <a:solidFill>
                  <a:schemeClr val="tx1"/>
                </a:solidFill>
              </a:defRPr>
            </a:lvl3pPr>
            <a:lvl4pPr rtl="0">
              <a:spcBef>
                <a:spcPts val="800"/>
              </a:spcBef>
              <a:defRPr>
                <a:solidFill>
                  <a:schemeClr val="tx1"/>
                </a:solidFill>
              </a:defRPr>
            </a:lvl4pPr>
            <a:lvl5pPr rtl="0">
              <a:spcBef>
                <a:spcPts val="80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579386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nteri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B5B521-9DCE-419E-B126-7E0D2E9C84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837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B5B521-9DCE-419E-B126-7E0D2E9C84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418307" y="303199"/>
            <a:ext cx="11468893" cy="836023"/>
          </a:xfrm>
          <a:prstGeom prst="rect">
            <a:avLst/>
          </a:prstGeom>
          <a:ln>
            <a:noFill/>
          </a:ln>
        </p:spPr>
        <p:txBody>
          <a:bodyPr vert="horz" anchor="ctr"/>
          <a:lstStyle>
            <a:lvl1pPr algn="l" rtl="0">
              <a:defRPr sz="3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pt-BR" altLang="es-ES"/>
              <a:t>Haga clic para modificar el estilo de títul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447614" y="1654519"/>
            <a:ext cx="11439586" cy="3381213"/>
          </a:xfrm>
          <a:prstGeom prst="rect">
            <a:avLst/>
          </a:prstGeom>
        </p:spPr>
        <p:txBody>
          <a:bodyPr/>
          <a:lstStyle>
            <a:lvl1pPr marL="342900" indent="-342900" rtl="0"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00100" indent="-342900" rtl="0">
              <a:buClr>
                <a:schemeClr val="tx2"/>
              </a:buClr>
              <a:buFont typeface="Courier New" panose="02070309020205020404" pitchFamily="49" charset="0"/>
              <a:buChar char="o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300" indent="-342900" rtl="0"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rtl="0">
              <a:buClr>
                <a:schemeClr val="tx2"/>
              </a:buClr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Haga clic para modificar el estilo de texto del patrón</a:t>
            </a:r>
          </a:p>
          <a:p>
            <a:pPr lvl="1"/>
            <a:r>
              <a:rPr lang="pt-BR"/>
              <a:t>Segundo nivel</a:t>
            </a:r>
          </a:p>
          <a:p>
            <a:pPr lvl="2"/>
            <a:r>
              <a:rPr lang="pt-BR"/>
              <a:t>Tercer nivel</a:t>
            </a:r>
          </a:p>
          <a:p>
            <a:pPr lvl="3"/>
            <a:r>
              <a:rPr lang="pt-BR"/>
              <a:t>Cuarto nivel</a:t>
            </a:r>
          </a:p>
        </p:txBody>
      </p:sp>
    </p:spTree>
    <p:extLst>
      <p:ext uri="{BB962C8B-B14F-4D97-AF65-F5344CB8AC3E}">
        <p14:creationId xmlns:p14="http://schemas.microsoft.com/office/powerpoint/2010/main" val="148375565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pt-BR" smtClean="0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56936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BDFB87-3697-42DB-9920-61D7F620D9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3"/>
            </p:custDataLst>
            <p:extLst>
              <p:ext uri="{D42A27DB-BD31-4B8C-83A1-F6EECF244321}">
                <p14:modId xmlns:p14="http://schemas.microsoft.com/office/powerpoint/2010/main" val="677793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4" imgW="383" imgH="384" progId="TCLayout.ActiveDocument.1">
                  <p:embed/>
                </p:oleObj>
              </mc:Choice>
              <mc:Fallback>
                <p:oleObj name="think-cell Slide" r:id="rId10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BDFB87-3697-42DB-9920-61D7F620D9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10527D-A40B-43F2-A788-C064EB2363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CEB4BE-9FAF-4B27-B8F6-504CA30150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34589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83F4CCBC-BCFA-4E04-B102-9C45039FC8CE}"/>
              </a:ext>
            </a:extLst>
          </p:cNvPr>
          <p:cNvSpPr txBox="1">
            <a:spLocks/>
          </p:cNvSpPr>
          <p:nvPr userDrawn="1"/>
        </p:nvSpPr>
        <p:spPr>
          <a:xfrm>
            <a:off x="7941318" y="6671561"/>
            <a:ext cx="4114800" cy="1404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pt-BR"/>
            </a:defPPr>
            <a:lvl1pPr marL="0" algn="r" defTabSz="914400" rtl="0" eaLnBrk="1" latinLnBrk="0" hangingPunct="1">
              <a:defRPr sz="900" kern="1200">
                <a:solidFill>
                  <a:srgbClr val="8989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t-BR" sz="700" b="0" i="0">
                <a:effectLst/>
                <a:latin typeface="Arial" panose="020B0604020202020204" pitchFamily="34" charset="0"/>
              </a:rPr>
              <a:t>Copyright © 2022 Accenture. Todos os direitos reservados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1AD5E87-7946-46D2-BE3F-84C4AB2CD5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8920" y="6351905"/>
            <a:ext cx="513080" cy="3651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90CBDC3A-D49F-4631-A8C7-55D59B33E5FA}" type="slidenum">
              <a:rPr lang="pt-BR" smtClean="0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8377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4150" r:id="rId2"/>
    <p:sldLayoutId id="2147484151" r:id="rId3"/>
    <p:sldLayoutId id="2147484292" r:id="rId4"/>
    <p:sldLayoutId id="2147484592" r:id="rId5"/>
    <p:sldLayoutId id="2147484593" r:id="rId6"/>
    <p:sldLayoutId id="2147484594" r:id="rId7"/>
    <p:sldLayoutId id="2147484595" r:id="rId8"/>
    <p:sldLayoutId id="2147484596" r:id="rId9"/>
    <p:sldLayoutId id="2147484597" r:id="rId10"/>
    <p:sldLayoutId id="2147484599" r:id="rId11"/>
    <p:sldLayoutId id="2147484601" r:id="rId12"/>
    <p:sldLayoutId id="2147484602" r:id="rId13"/>
    <p:sldLayoutId id="2147484603" r:id="rId14"/>
    <p:sldLayoutId id="2147484604" r:id="rId15"/>
    <p:sldLayoutId id="2147484605" r:id="rId16"/>
    <p:sldLayoutId id="2147484606" r:id="rId17"/>
    <p:sldLayoutId id="2147484607" r:id="rId18"/>
    <p:sldLayoutId id="2147484608" r:id="rId19"/>
    <p:sldLayoutId id="2147484609" r:id="rId20"/>
    <p:sldLayoutId id="2147484610" r:id="rId21"/>
    <p:sldLayoutId id="2147484611" r:id="rId22"/>
    <p:sldLayoutId id="2147484612" r:id="rId23"/>
    <p:sldLayoutId id="2147484613" r:id="rId24"/>
    <p:sldLayoutId id="2147484614" r:id="rId25"/>
    <p:sldLayoutId id="2147484615" r:id="rId26"/>
    <p:sldLayoutId id="2147484616" r:id="rId27"/>
    <p:sldLayoutId id="2147484617" r:id="rId28"/>
    <p:sldLayoutId id="2147484618" r:id="rId29"/>
    <p:sldLayoutId id="2147484619" r:id="rId30"/>
    <p:sldLayoutId id="2147484620" r:id="rId31"/>
    <p:sldLayoutId id="2147484621" r:id="rId32"/>
    <p:sldLayoutId id="2147484622" r:id="rId33"/>
    <p:sldLayoutId id="2147484623" r:id="rId34"/>
    <p:sldLayoutId id="2147484624" r:id="rId35"/>
    <p:sldLayoutId id="2147484625" r:id="rId36"/>
    <p:sldLayoutId id="2147484626" r:id="rId37"/>
    <p:sldLayoutId id="2147484627" r:id="rId38"/>
    <p:sldLayoutId id="2147484628" r:id="rId39"/>
    <p:sldLayoutId id="2147484629" r:id="rId40"/>
    <p:sldLayoutId id="2147484632" r:id="rId41"/>
    <p:sldLayoutId id="2147484633" r:id="rId42"/>
    <p:sldLayoutId id="2147484634" r:id="rId43"/>
    <p:sldLayoutId id="2147484635" r:id="rId44"/>
    <p:sldLayoutId id="2147484636" r:id="rId45"/>
    <p:sldLayoutId id="2147484637" r:id="rId46"/>
    <p:sldLayoutId id="2147484638" r:id="rId47"/>
    <p:sldLayoutId id="2147484640" r:id="rId48"/>
    <p:sldLayoutId id="2147484641" r:id="rId49"/>
    <p:sldLayoutId id="2147484642" r:id="rId50"/>
    <p:sldLayoutId id="2147484432" r:id="rId51"/>
    <p:sldLayoutId id="2147484433" r:id="rId52"/>
    <p:sldLayoutId id="2147484434" r:id="rId53"/>
    <p:sldLayoutId id="2147484436" r:id="rId54"/>
    <p:sldLayoutId id="2147484437" r:id="rId55"/>
    <p:sldLayoutId id="2147484438" r:id="rId56"/>
    <p:sldLayoutId id="2147484587" r:id="rId57"/>
    <p:sldLayoutId id="2147484495" r:id="rId58"/>
    <p:sldLayoutId id="2147484496" r:id="rId59"/>
    <p:sldLayoutId id="2147484497" r:id="rId60"/>
    <p:sldLayoutId id="2147484499" r:id="rId61"/>
    <p:sldLayoutId id="2147484500" r:id="rId62"/>
    <p:sldLayoutId id="2147484501" r:id="rId63"/>
    <p:sldLayoutId id="2147484502" r:id="rId64"/>
    <p:sldLayoutId id="2147484503" r:id="rId65"/>
    <p:sldLayoutId id="2147484504" r:id="rId66"/>
    <p:sldLayoutId id="2147484505" r:id="rId67"/>
    <p:sldLayoutId id="2147484507" r:id="rId68"/>
    <p:sldLayoutId id="2147484508" r:id="rId69"/>
    <p:sldLayoutId id="2147484509" r:id="rId70"/>
    <p:sldLayoutId id="2147484510" r:id="rId71"/>
    <p:sldLayoutId id="2147484512" r:id="rId72"/>
    <p:sldLayoutId id="2147484513" r:id="rId73"/>
    <p:sldLayoutId id="2147484515" r:id="rId74"/>
    <p:sldLayoutId id="2147484516" r:id="rId75"/>
    <p:sldLayoutId id="2147484517" r:id="rId76"/>
    <p:sldLayoutId id="2147484518" r:id="rId77"/>
    <p:sldLayoutId id="2147484519" r:id="rId78"/>
    <p:sldLayoutId id="2147484520" r:id="rId79"/>
    <p:sldLayoutId id="2147484521" r:id="rId80"/>
    <p:sldLayoutId id="2147484522" r:id="rId81"/>
    <p:sldLayoutId id="2147484523" r:id="rId82"/>
    <p:sldLayoutId id="2147484524" r:id="rId83"/>
    <p:sldLayoutId id="2147484491" r:id="rId84"/>
    <p:sldLayoutId id="2147484492" r:id="rId85"/>
    <p:sldLayoutId id="2147484458" r:id="rId86"/>
    <p:sldLayoutId id="2147484459" r:id="rId87"/>
    <p:sldLayoutId id="2147484460" r:id="rId88"/>
    <p:sldLayoutId id="2147484462" r:id="rId89"/>
    <p:sldLayoutId id="2147484463" r:id="rId90"/>
    <p:sldLayoutId id="2147484464" r:id="rId91"/>
    <p:sldLayoutId id="2147484465" r:id="rId92"/>
    <p:sldLayoutId id="2147484466" r:id="rId93"/>
    <p:sldLayoutId id="2147484467" r:id="rId94"/>
    <p:sldLayoutId id="2147484480" r:id="rId95"/>
    <p:sldLayoutId id="2147484481" r:id="rId96"/>
    <p:sldLayoutId id="2147484487" r:id="rId97"/>
    <p:sldLayoutId id="2147484405" r:id="rId98"/>
    <p:sldLayoutId id="2147484408" r:id="rId99"/>
    <p:sldLayoutId id="2147484410" r:id="rId100"/>
    <p:sldLayoutId id="2147484660" r:id="rId10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slideLayout" Target="../slideLayouts/slideLayout58.xml"/><Relationship Id="rId7" Type="http://schemas.openxmlformats.org/officeDocument/2006/relationships/diagramData" Target="../diagrams/data6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83.emf"/><Relationship Id="rId11" Type="http://schemas.microsoft.com/office/2007/relationships/diagramDrawing" Target="../diagrams/drawing6.xml"/><Relationship Id="rId5" Type="http://schemas.openxmlformats.org/officeDocument/2006/relationships/oleObject" Target="../embeddings/oleObject37.bin"/><Relationship Id="rId10" Type="http://schemas.openxmlformats.org/officeDocument/2006/relationships/diagramColors" Target="../diagrams/colors6.xml"/><Relationship Id="rId4" Type="http://schemas.openxmlformats.org/officeDocument/2006/relationships/notesSlide" Target="../notesSlides/notesSlide10.xml"/><Relationship Id="rId9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slideLayout" Target="../slideLayouts/slideLayout58.xml"/><Relationship Id="rId7" Type="http://schemas.openxmlformats.org/officeDocument/2006/relationships/diagramData" Target="../diagrams/data7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83.emf"/><Relationship Id="rId11" Type="http://schemas.microsoft.com/office/2007/relationships/diagramDrawing" Target="../diagrams/drawing7.xml"/><Relationship Id="rId5" Type="http://schemas.openxmlformats.org/officeDocument/2006/relationships/oleObject" Target="../embeddings/oleObject37.bin"/><Relationship Id="rId10" Type="http://schemas.openxmlformats.org/officeDocument/2006/relationships/diagramColors" Target="../diagrams/colors7.xml"/><Relationship Id="rId4" Type="http://schemas.openxmlformats.org/officeDocument/2006/relationships/notesSlide" Target="../notesSlides/notesSlide11.xml"/><Relationship Id="rId9" Type="http://schemas.openxmlformats.org/officeDocument/2006/relationships/diagramQuickStyle" Target="../diagrams/quickStyl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83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86.pn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83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8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89.emf"/><Relationship Id="rId4" Type="http://schemas.openxmlformats.org/officeDocument/2006/relationships/oleObject" Target="../embeddings/oleObject39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developer.salesforce.com/docs/atlas.en-us.sfdx_dev.meta/sfdx_dev/sfdx_dev_auth_jwt_flow.htm" TargetMode="External"/><Relationship Id="rId3" Type="http://schemas.openxmlformats.org/officeDocument/2006/relationships/slideLayout" Target="../slideLayouts/slideLayout101.xml"/><Relationship Id="rId7" Type="http://schemas.openxmlformats.org/officeDocument/2006/relationships/hyperlink" Target="https://developer.salesforce.com/docs/atlas.en-us.sfdx_dev.meta/sfdx_dev/sfdx_dev_auth_key_and_cert.htm" TargetMode="Externa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hyperlink" Target="https://www.rfc-editor.org/rfc/rfc7519" TargetMode="External"/><Relationship Id="rId11" Type="http://schemas.openxmlformats.org/officeDocument/2006/relationships/hyperlink" Target="https://www.youtube.com/watch?v=OPOLjnxeuF4" TargetMode="External"/><Relationship Id="rId5" Type="http://schemas.openxmlformats.org/officeDocument/2006/relationships/image" Target="../media/image89.emf"/><Relationship Id="rId10" Type="http://schemas.openxmlformats.org/officeDocument/2006/relationships/hyperlink" Target="https://help.salesforce.com/s/articleView?id=sf.remoteaccess_oauth_web_server_flow.htm&amp;type=5" TargetMode="External"/><Relationship Id="rId4" Type="http://schemas.openxmlformats.org/officeDocument/2006/relationships/oleObject" Target="../embeddings/oleObject39.bin"/><Relationship Id="rId9" Type="http://schemas.openxmlformats.org/officeDocument/2006/relationships/hyperlink" Target="https://help.salesforce.com/s/articleView?id=sf.remoteaccess_oauth_jwt_flow.htm&amp;type=5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83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83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Relationship Id="rId5" Type="http://schemas.openxmlformats.org/officeDocument/2006/relationships/image" Target="../media/image84.emf"/><Relationship Id="rId4" Type="http://schemas.openxmlformats.org/officeDocument/2006/relationships/oleObject" Target="../embeddings/oleObject3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Relationship Id="rId6" Type="http://schemas.openxmlformats.org/officeDocument/2006/relationships/image" Target="../media/image85.png"/><Relationship Id="rId5" Type="http://schemas.openxmlformats.org/officeDocument/2006/relationships/image" Target="../media/image84.emf"/><Relationship Id="rId4" Type="http://schemas.openxmlformats.org/officeDocument/2006/relationships/oleObject" Target="../embeddings/oleObject3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58.xml"/><Relationship Id="rId7" Type="http://schemas.openxmlformats.org/officeDocument/2006/relationships/diagramData" Target="../diagrams/data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83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37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58.xml"/><Relationship Id="rId7" Type="http://schemas.openxmlformats.org/officeDocument/2006/relationships/diagramData" Target="../diagrams/data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83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37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6.xml"/><Relationship Id="rId9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slideLayout" Target="../slideLayouts/slideLayout58.xml"/><Relationship Id="rId7" Type="http://schemas.openxmlformats.org/officeDocument/2006/relationships/diagramData" Target="../diagrams/data3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83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37.bin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7.xml"/><Relationship Id="rId9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58.xml"/><Relationship Id="rId7" Type="http://schemas.openxmlformats.org/officeDocument/2006/relationships/diagramData" Target="../diagrams/data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83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37.bin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8.xml"/><Relationship Id="rId9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slideLayout" Target="../slideLayouts/slideLayout58.xml"/><Relationship Id="rId7" Type="http://schemas.openxmlformats.org/officeDocument/2006/relationships/diagramData" Target="../diagrams/data5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83.emf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37.bin"/><Relationship Id="rId10" Type="http://schemas.openxmlformats.org/officeDocument/2006/relationships/diagramColors" Target="../diagrams/colors5.xml"/><Relationship Id="rId4" Type="http://schemas.openxmlformats.org/officeDocument/2006/relationships/notesSlide" Target="../notesSlides/notesSlide9.xml"/><Relationship Id="rId9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71E772C-7671-4FFA-82EA-8215F8FFFC7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4831" y="2372469"/>
            <a:ext cx="3559233" cy="3737194"/>
          </a:xfrm>
          <a:prstGeom prst="rect">
            <a:avLst/>
          </a:prstGeom>
        </p:spPr>
      </p:pic>
      <p:grpSp>
        <p:nvGrpSpPr>
          <p:cNvPr id="7" name="Graphic 239">
            <a:extLst>
              <a:ext uri="{FF2B5EF4-FFF2-40B4-BE49-F238E27FC236}">
                <a16:creationId xmlns:a16="http://schemas.microsoft.com/office/drawing/2014/main" id="{1AE64F85-5B7A-4CB5-9019-A167E9F5553C}"/>
              </a:ext>
            </a:extLst>
          </p:cNvPr>
          <p:cNvGrpSpPr/>
          <p:nvPr/>
        </p:nvGrpSpPr>
        <p:grpSpPr>
          <a:xfrm>
            <a:off x="569223" y="2114740"/>
            <a:ext cx="2471161" cy="638258"/>
            <a:chOff x="4593626" y="1352436"/>
            <a:chExt cx="1552575" cy="401003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AF35EB7-E2D4-4D53-AB9E-FC35BFBBA730}"/>
                </a:ext>
              </a:extLst>
            </p:cNvPr>
            <p:cNvSpPr/>
            <p:nvPr/>
          </p:nvSpPr>
          <p:spPr>
            <a:xfrm>
              <a:off x="5499453" y="1352436"/>
              <a:ext cx="152400" cy="161925"/>
            </a:xfrm>
            <a:custGeom>
              <a:avLst/>
              <a:gdLst>
                <a:gd name="connsiteX0" fmla="*/ 0 w 152400"/>
                <a:gd name="connsiteY0" fmla="*/ 114300 h 161925"/>
                <a:gd name="connsiteX1" fmla="*/ 89535 w 152400"/>
                <a:gd name="connsiteY1" fmla="*/ 80963 h 161925"/>
                <a:gd name="connsiteX2" fmla="*/ 0 w 152400"/>
                <a:gd name="connsiteY2" fmla="*/ 46673 h 161925"/>
                <a:gd name="connsiteX3" fmla="*/ 0 w 152400"/>
                <a:gd name="connsiteY3" fmla="*/ 0 h 161925"/>
                <a:gd name="connsiteX4" fmla="*/ 153352 w 152400"/>
                <a:gd name="connsiteY4" fmla="*/ 61913 h 161925"/>
                <a:gd name="connsiteX5" fmla="*/ 153352 w 152400"/>
                <a:gd name="connsiteY5" fmla="*/ 100013 h 161925"/>
                <a:gd name="connsiteX6" fmla="*/ 0 w 152400"/>
                <a:gd name="connsiteY6" fmla="*/ 1619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400" h="161925">
                  <a:moveTo>
                    <a:pt x="0" y="114300"/>
                  </a:moveTo>
                  <a:lnTo>
                    <a:pt x="89535" y="80963"/>
                  </a:lnTo>
                  <a:lnTo>
                    <a:pt x="0" y="46673"/>
                  </a:lnTo>
                  <a:lnTo>
                    <a:pt x="0" y="0"/>
                  </a:lnTo>
                  <a:lnTo>
                    <a:pt x="153352" y="61913"/>
                  </a:lnTo>
                  <a:lnTo>
                    <a:pt x="153352" y="100013"/>
                  </a:lnTo>
                  <a:lnTo>
                    <a:pt x="0" y="161925"/>
                  </a:lnTo>
                  <a:close/>
                </a:path>
              </a:pathLst>
            </a:custGeom>
            <a:solidFill>
              <a:srgbClr val="A100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23A5ECE-77D1-421D-98E5-89662B59E7FB}"/>
                </a:ext>
              </a:extLst>
            </p:cNvPr>
            <p:cNvSpPr/>
            <p:nvPr/>
          </p:nvSpPr>
          <p:spPr>
            <a:xfrm>
              <a:off x="4593626" y="1524839"/>
              <a:ext cx="1552575" cy="228600"/>
            </a:xfrm>
            <a:custGeom>
              <a:avLst/>
              <a:gdLst>
                <a:gd name="connsiteX0" fmla="*/ 59055 w 1552575"/>
                <a:gd name="connsiteY0" fmla="*/ 237173 h 228600"/>
                <a:gd name="connsiteX1" fmla="*/ 0 w 1552575"/>
                <a:gd name="connsiteY1" fmla="*/ 184785 h 228600"/>
                <a:gd name="connsiteX2" fmla="*/ 0 w 1552575"/>
                <a:gd name="connsiteY2" fmla="*/ 182880 h 228600"/>
                <a:gd name="connsiteX3" fmla="*/ 84773 w 1552575"/>
                <a:gd name="connsiteY3" fmla="*/ 123825 h 228600"/>
                <a:gd name="connsiteX4" fmla="*/ 106680 w 1552575"/>
                <a:gd name="connsiteY4" fmla="*/ 123825 h 228600"/>
                <a:gd name="connsiteX5" fmla="*/ 106680 w 1552575"/>
                <a:gd name="connsiteY5" fmla="*/ 115253 h 228600"/>
                <a:gd name="connsiteX6" fmla="*/ 80010 w 1552575"/>
                <a:gd name="connsiteY6" fmla="*/ 86678 h 228600"/>
                <a:gd name="connsiteX7" fmla="*/ 53340 w 1552575"/>
                <a:gd name="connsiteY7" fmla="*/ 109538 h 228600"/>
                <a:gd name="connsiteX8" fmla="*/ 5715 w 1552575"/>
                <a:gd name="connsiteY8" fmla="*/ 109538 h 228600"/>
                <a:gd name="connsiteX9" fmla="*/ 82868 w 1552575"/>
                <a:gd name="connsiteY9" fmla="*/ 50482 h 228600"/>
                <a:gd name="connsiteX10" fmla="*/ 157163 w 1552575"/>
                <a:gd name="connsiteY10" fmla="*/ 113348 h 228600"/>
                <a:gd name="connsiteX11" fmla="*/ 157163 w 1552575"/>
                <a:gd name="connsiteY11" fmla="*/ 233362 h 228600"/>
                <a:gd name="connsiteX12" fmla="*/ 108585 w 1552575"/>
                <a:gd name="connsiteY12" fmla="*/ 233362 h 228600"/>
                <a:gd name="connsiteX13" fmla="*/ 108585 w 1552575"/>
                <a:gd name="connsiteY13" fmla="*/ 212408 h 228600"/>
                <a:gd name="connsiteX14" fmla="*/ 59055 w 1552575"/>
                <a:gd name="connsiteY14" fmla="*/ 237173 h 228600"/>
                <a:gd name="connsiteX15" fmla="*/ 106680 w 1552575"/>
                <a:gd name="connsiteY15" fmla="*/ 174308 h 228600"/>
                <a:gd name="connsiteX16" fmla="*/ 106680 w 1552575"/>
                <a:gd name="connsiteY16" fmla="*/ 157162 h 228600"/>
                <a:gd name="connsiteX17" fmla="*/ 86678 w 1552575"/>
                <a:gd name="connsiteY17" fmla="*/ 157162 h 228600"/>
                <a:gd name="connsiteX18" fmla="*/ 49530 w 1552575"/>
                <a:gd name="connsiteY18" fmla="*/ 180023 h 228600"/>
                <a:gd name="connsiteX19" fmla="*/ 49530 w 1552575"/>
                <a:gd name="connsiteY19" fmla="*/ 181928 h 228600"/>
                <a:gd name="connsiteX20" fmla="*/ 74295 w 1552575"/>
                <a:gd name="connsiteY20" fmla="*/ 202883 h 228600"/>
                <a:gd name="connsiteX21" fmla="*/ 106680 w 1552575"/>
                <a:gd name="connsiteY21" fmla="*/ 174308 h 228600"/>
                <a:gd name="connsiteX22" fmla="*/ 270510 w 1552575"/>
                <a:gd name="connsiteY22" fmla="*/ 237173 h 228600"/>
                <a:gd name="connsiteX23" fmla="*/ 184785 w 1552575"/>
                <a:gd name="connsiteY23" fmla="*/ 145733 h 228600"/>
                <a:gd name="connsiteX24" fmla="*/ 184785 w 1552575"/>
                <a:gd name="connsiteY24" fmla="*/ 142875 h 228600"/>
                <a:gd name="connsiteX25" fmla="*/ 270510 w 1552575"/>
                <a:gd name="connsiteY25" fmla="*/ 49530 h 228600"/>
                <a:gd name="connsiteX26" fmla="*/ 348615 w 1552575"/>
                <a:gd name="connsiteY26" fmla="*/ 117157 h 228600"/>
                <a:gd name="connsiteX27" fmla="*/ 300990 w 1552575"/>
                <a:gd name="connsiteY27" fmla="*/ 117157 h 228600"/>
                <a:gd name="connsiteX28" fmla="*/ 271463 w 1552575"/>
                <a:gd name="connsiteY28" fmla="*/ 88582 h 228600"/>
                <a:gd name="connsiteX29" fmla="*/ 235268 w 1552575"/>
                <a:gd name="connsiteY29" fmla="*/ 140970 h 228600"/>
                <a:gd name="connsiteX30" fmla="*/ 235268 w 1552575"/>
                <a:gd name="connsiteY30" fmla="*/ 146685 h 228600"/>
                <a:gd name="connsiteX31" fmla="*/ 271463 w 1552575"/>
                <a:gd name="connsiteY31" fmla="*/ 199073 h 228600"/>
                <a:gd name="connsiteX32" fmla="*/ 303848 w 1552575"/>
                <a:gd name="connsiteY32" fmla="*/ 166687 h 228600"/>
                <a:gd name="connsiteX33" fmla="*/ 349568 w 1552575"/>
                <a:gd name="connsiteY33" fmla="*/ 166687 h 228600"/>
                <a:gd name="connsiteX34" fmla="*/ 270510 w 1552575"/>
                <a:gd name="connsiteY34" fmla="*/ 237173 h 228600"/>
                <a:gd name="connsiteX35" fmla="*/ 457200 w 1552575"/>
                <a:gd name="connsiteY35" fmla="*/ 237173 h 228600"/>
                <a:gd name="connsiteX36" fmla="*/ 371475 w 1552575"/>
                <a:gd name="connsiteY36" fmla="*/ 145733 h 228600"/>
                <a:gd name="connsiteX37" fmla="*/ 371475 w 1552575"/>
                <a:gd name="connsiteY37" fmla="*/ 142875 h 228600"/>
                <a:gd name="connsiteX38" fmla="*/ 457200 w 1552575"/>
                <a:gd name="connsiteY38" fmla="*/ 49530 h 228600"/>
                <a:gd name="connsiteX39" fmla="*/ 535305 w 1552575"/>
                <a:gd name="connsiteY39" fmla="*/ 117157 h 228600"/>
                <a:gd name="connsiteX40" fmla="*/ 487680 w 1552575"/>
                <a:gd name="connsiteY40" fmla="*/ 117157 h 228600"/>
                <a:gd name="connsiteX41" fmla="*/ 458153 w 1552575"/>
                <a:gd name="connsiteY41" fmla="*/ 88582 h 228600"/>
                <a:gd name="connsiteX42" fmla="*/ 421958 w 1552575"/>
                <a:gd name="connsiteY42" fmla="*/ 140970 h 228600"/>
                <a:gd name="connsiteX43" fmla="*/ 421958 w 1552575"/>
                <a:gd name="connsiteY43" fmla="*/ 146685 h 228600"/>
                <a:gd name="connsiteX44" fmla="*/ 458153 w 1552575"/>
                <a:gd name="connsiteY44" fmla="*/ 199073 h 228600"/>
                <a:gd name="connsiteX45" fmla="*/ 490538 w 1552575"/>
                <a:gd name="connsiteY45" fmla="*/ 166687 h 228600"/>
                <a:gd name="connsiteX46" fmla="*/ 536258 w 1552575"/>
                <a:gd name="connsiteY46" fmla="*/ 166687 h 228600"/>
                <a:gd name="connsiteX47" fmla="*/ 457200 w 1552575"/>
                <a:gd name="connsiteY47" fmla="*/ 237173 h 228600"/>
                <a:gd name="connsiteX48" fmla="*/ 644843 w 1552575"/>
                <a:gd name="connsiteY48" fmla="*/ 237173 h 228600"/>
                <a:gd name="connsiteX49" fmla="*/ 558165 w 1552575"/>
                <a:gd name="connsiteY49" fmla="*/ 146685 h 228600"/>
                <a:gd name="connsiteX50" fmla="*/ 558165 w 1552575"/>
                <a:gd name="connsiteY50" fmla="*/ 142875 h 228600"/>
                <a:gd name="connsiteX51" fmla="*/ 643890 w 1552575"/>
                <a:gd name="connsiteY51" fmla="*/ 49530 h 228600"/>
                <a:gd name="connsiteX52" fmla="*/ 725805 w 1552575"/>
                <a:gd name="connsiteY52" fmla="*/ 134303 h 228600"/>
                <a:gd name="connsiteX53" fmla="*/ 725805 w 1552575"/>
                <a:gd name="connsiteY53" fmla="*/ 156210 h 228600"/>
                <a:gd name="connsiteX54" fmla="*/ 608648 w 1552575"/>
                <a:gd name="connsiteY54" fmla="*/ 156210 h 228600"/>
                <a:gd name="connsiteX55" fmla="*/ 645795 w 1552575"/>
                <a:gd name="connsiteY55" fmla="*/ 200978 h 228600"/>
                <a:gd name="connsiteX56" fmla="*/ 679133 w 1552575"/>
                <a:gd name="connsiteY56" fmla="*/ 178117 h 228600"/>
                <a:gd name="connsiteX57" fmla="*/ 725805 w 1552575"/>
                <a:gd name="connsiteY57" fmla="*/ 178117 h 228600"/>
                <a:gd name="connsiteX58" fmla="*/ 644843 w 1552575"/>
                <a:gd name="connsiteY58" fmla="*/ 237173 h 228600"/>
                <a:gd name="connsiteX59" fmla="*/ 609600 w 1552575"/>
                <a:gd name="connsiteY59" fmla="*/ 122873 h 228600"/>
                <a:gd name="connsiteX60" fmla="*/ 676275 w 1552575"/>
                <a:gd name="connsiteY60" fmla="*/ 122873 h 228600"/>
                <a:gd name="connsiteX61" fmla="*/ 642938 w 1552575"/>
                <a:gd name="connsiteY61" fmla="*/ 84773 h 228600"/>
                <a:gd name="connsiteX62" fmla="*/ 609600 w 1552575"/>
                <a:gd name="connsiteY62" fmla="*/ 122873 h 228600"/>
                <a:gd name="connsiteX63" fmla="*/ 756285 w 1552575"/>
                <a:gd name="connsiteY63" fmla="*/ 54292 h 228600"/>
                <a:gd name="connsiteX64" fmla="*/ 806768 w 1552575"/>
                <a:gd name="connsiteY64" fmla="*/ 54292 h 228600"/>
                <a:gd name="connsiteX65" fmla="*/ 806768 w 1552575"/>
                <a:gd name="connsiteY65" fmla="*/ 80963 h 228600"/>
                <a:gd name="connsiteX66" fmla="*/ 861060 w 1552575"/>
                <a:gd name="connsiteY66" fmla="*/ 50482 h 228600"/>
                <a:gd name="connsiteX67" fmla="*/ 915353 w 1552575"/>
                <a:gd name="connsiteY67" fmla="*/ 113348 h 228600"/>
                <a:gd name="connsiteX68" fmla="*/ 915353 w 1552575"/>
                <a:gd name="connsiteY68" fmla="*/ 233362 h 228600"/>
                <a:gd name="connsiteX69" fmla="*/ 864870 w 1552575"/>
                <a:gd name="connsiteY69" fmla="*/ 233362 h 228600"/>
                <a:gd name="connsiteX70" fmla="*/ 864870 w 1552575"/>
                <a:gd name="connsiteY70" fmla="*/ 120967 h 228600"/>
                <a:gd name="connsiteX71" fmla="*/ 838200 w 1552575"/>
                <a:gd name="connsiteY71" fmla="*/ 90488 h 228600"/>
                <a:gd name="connsiteX72" fmla="*/ 806768 w 1552575"/>
                <a:gd name="connsiteY72" fmla="*/ 123825 h 228600"/>
                <a:gd name="connsiteX73" fmla="*/ 806768 w 1552575"/>
                <a:gd name="connsiteY73" fmla="*/ 233362 h 228600"/>
                <a:gd name="connsiteX74" fmla="*/ 756285 w 1552575"/>
                <a:gd name="connsiteY74" fmla="*/ 233362 h 228600"/>
                <a:gd name="connsiteX75" fmla="*/ 756285 w 1552575"/>
                <a:gd name="connsiteY75" fmla="*/ 54292 h 228600"/>
                <a:gd name="connsiteX76" fmla="*/ 1007745 w 1552575"/>
                <a:gd name="connsiteY76" fmla="*/ 0 h 228600"/>
                <a:gd name="connsiteX77" fmla="*/ 1007745 w 1552575"/>
                <a:gd name="connsiteY77" fmla="*/ 54292 h 228600"/>
                <a:gd name="connsiteX78" fmla="*/ 1042035 w 1552575"/>
                <a:gd name="connsiteY78" fmla="*/ 54292 h 228600"/>
                <a:gd name="connsiteX79" fmla="*/ 1042035 w 1552575"/>
                <a:gd name="connsiteY79" fmla="*/ 91440 h 228600"/>
                <a:gd name="connsiteX80" fmla="*/ 1007745 w 1552575"/>
                <a:gd name="connsiteY80" fmla="*/ 91440 h 228600"/>
                <a:gd name="connsiteX81" fmla="*/ 1007745 w 1552575"/>
                <a:gd name="connsiteY81" fmla="*/ 176212 h 228600"/>
                <a:gd name="connsiteX82" fmla="*/ 1025843 w 1552575"/>
                <a:gd name="connsiteY82" fmla="*/ 196215 h 228600"/>
                <a:gd name="connsiteX83" fmla="*/ 1042988 w 1552575"/>
                <a:gd name="connsiteY83" fmla="*/ 193358 h 228600"/>
                <a:gd name="connsiteX84" fmla="*/ 1042988 w 1552575"/>
                <a:gd name="connsiteY84" fmla="*/ 232410 h 228600"/>
                <a:gd name="connsiteX85" fmla="*/ 1014413 w 1552575"/>
                <a:gd name="connsiteY85" fmla="*/ 236220 h 228600"/>
                <a:gd name="connsiteX86" fmla="*/ 957263 w 1552575"/>
                <a:gd name="connsiteY86" fmla="*/ 181928 h 228600"/>
                <a:gd name="connsiteX87" fmla="*/ 957263 w 1552575"/>
                <a:gd name="connsiteY87" fmla="*/ 91440 h 228600"/>
                <a:gd name="connsiteX88" fmla="*/ 936308 w 1552575"/>
                <a:gd name="connsiteY88" fmla="*/ 91440 h 228600"/>
                <a:gd name="connsiteX89" fmla="*/ 936308 w 1552575"/>
                <a:gd name="connsiteY89" fmla="*/ 54292 h 228600"/>
                <a:gd name="connsiteX90" fmla="*/ 957263 w 1552575"/>
                <a:gd name="connsiteY90" fmla="*/ 54292 h 228600"/>
                <a:gd name="connsiteX91" fmla="*/ 957263 w 1552575"/>
                <a:gd name="connsiteY91" fmla="*/ 20955 h 228600"/>
                <a:gd name="connsiteX92" fmla="*/ 1007745 w 1552575"/>
                <a:gd name="connsiteY92" fmla="*/ 0 h 228600"/>
                <a:gd name="connsiteX93" fmla="*/ 1230630 w 1552575"/>
                <a:gd name="connsiteY93" fmla="*/ 233362 h 228600"/>
                <a:gd name="connsiteX94" fmla="*/ 1181100 w 1552575"/>
                <a:gd name="connsiteY94" fmla="*/ 233362 h 228600"/>
                <a:gd name="connsiteX95" fmla="*/ 1181100 w 1552575"/>
                <a:gd name="connsiteY95" fmla="*/ 206692 h 228600"/>
                <a:gd name="connsiteX96" fmla="*/ 1128713 w 1552575"/>
                <a:gd name="connsiteY96" fmla="*/ 237173 h 228600"/>
                <a:gd name="connsiteX97" fmla="*/ 1072515 w 1552575"/>
                <a:gd name="connsiteY97" fmla="*/ 175260 h 228600"/>
                <a:gd name="connsiteX98" fmla="*/ 1072515 w 1552575"/>
                <a:gd name="connsiteY98" fmla="*/ 54292 h 228600"/>
                <a:gd name="connsiteX99" fmla="*/ 1122998 w 1552575"/>
                <a:gd name="connsiteY99" fmla="*/ 54292 h 228600"/>
                <a:gd name="connsiteX100" fmla="*/ 1122998 w 1552575"/>
                <a:gd name="connsiteY100" fmla="*/ 168592 h 228600"/>
                <a:gd name="connsiteX101" fmla="*/ 1148715 w 1552575"/>
                <a:gd name="connsiteY101" fmla="*/ 199073 h 228600"/>
                <a:gd name="connsiteX102" fmla="*/ 1180148 w 1552575"/>
                <a:gd name="connsiteY102" fmla="*/ 165735 h 228600"/>
                <a:gd name="connsiteX103" fmla="*/ 1180148 w 1552575"/>
                <a:gd name="connsiteY103" fmla="*/ 54292 h 228600"/>
                <a:gd name="connsiteX104" fmla="*/ 1230630 w 1552575"/>
                <a:gd name="connsiteY104" fmla="*/ 54292 h 228600"/>
                <a:gd name="connsiteX105" fmla="*/ 1230630 w 1552575"/>
                <a:gd name="connsiteY105" fmla="*/ 233362 h 228600"/>
                <a:gd name="connsiteX106" fmla="*/ 1267778 w 1552575"/>
                <a:gd name="connsiteY106" fmla="*/ 54292 h 228600"/>
                <a:gd name="connsiteX107" fmla="*/ 1318260 w 1552575"/>
                <a:gd name="connsiteY107" fmla="*/ 54292 h 228600"/>
                <a:gd name="connsiteX108" fmla="*/ 1318260 w 1552575"/>
                <a:gd name="connsiteY108" fmla="*/ 87630 h 228600"/>
                <a:gd name="connsiteX109" fmla="*/ 1372553 w 1552575"/>
                <a:gd name="connsiteY109" fmla="*/ 52388 h 228600"/>
                <a:gd name="connsiteX110" fmla="*/ 1372553 w 1552575"/>
                <a:gd name="connsiteY110" fmla="*/ 101917 h 228600"/>
                <a:gd name="connsiteX111" fmla="*/ 1318260 w 1552575"/>
                <a:gd name="connsiteY111" fmla="*/ 141923 h 228600"/>
                <a:gd name="connsiteX112" fmla="*/ 1318260 w 1552575"/>
                <a:gd name="connsiteY112" fmla="*/ 234315 h 228600"/>
                <a:gd name="connsiteX113" fmla="*/ 1267778 w 1552575"/>
                <a:gd name="connsiteY113" fmla="*/ 234315 h 228600"/>
                <a:gd name="connsiteX114" fmla="*/ 1267778 w 1552575"/>
                <a:gd name="connsiteY114" fmla="*/ 54292 h 228600"/>
                <a:gd name="connsiteX115" fmla="*/ 1474470 w 1552575"/>
                <a:gd name="connsiteY115" fmla="*/ 237173 h 228600"/>
                <a:gd name="connsiteX116" fmla="*/ 1387793 w 1552575"/>
                <a:gd name="connsiteY116" fmla="*/ 146685 h 228600"/>
                <a:gd name="connsiteX117" fmla="*/ 1387793 w 1552575"/>
                <a:gd name="connsiteY117" fmla="*/ 142875 h 228600"/>
                <a:gd name="connsiteX118" fmla="*/ 1473518 w 1552575"/>
                <a:gd name="connsiteY118" fmla="*/ 49530 h 228600"/>
                <a:gd name="connsiteX119" fmla="*/ 1555433 w 1552575"/>
                <a:gd name="connsiteY119" fmla="*/ 134303 h 228600"/>
                <a:gd name="connsiteX120" fmla="*/ 1555433 w 1552575"/>
                <a:gd name="connsiteY120" fmla="*/ 156210 h 228600"/>
                <a:gd name="connsiteX121" fmla="*/ 1439228 w 1552575"/>
                <a:gd name="connsiteY121" fmla="*/ 156210 h 228600"/>
                <a:gd name="connsiteX122" fmla="*/ 1476375 w 1552575"/>
                <a:gd name="connsiteY122" fmla="*/ 200978 h 228600"/>
                <a:gd name="connsiteX123" fmla="*/ 1509713 w 1552575"/>
                <a:gd name="connsiteY123" fmla="*/ 178117 h 228600"/>
                <a:gd name="connsiteX124" fmla="*/ 1556385 w 1552575"/>
                <a:gd name="connsiteY124" fmla="*/ 178117 h 228600"/>
                <a:gd name="connsiteX125" fmla="*/ 1474470 w 1552575"/>
                <a:gd name="connsiteY125" fmla="*/ 237173 h 228600"/>
                <a:gd name="connsiteX126" fmla="*/ 1438275 w 1552575"/>
                <a:gd name="connsiteY126" fmla="*/ 122873 h 228600"/>
                <a:gd name="connsiteX127" fmla="*/ 1505903 w 1552575"/>
                <a:gd name="connsiteY127" fmla="*/ 122873 h 228600"/>
                <a:gd name="connsiteX128" fmla="*/ 1472565 w 1552575"/>
                <a:gd name="connsiteY128" fmla="*/ 84773 h 228600"/>
                <a:gd name="connsiteX129" fmla="*/ 1438275 w 1552575"/>
                <a:gd name="connsiteY129" fmla="*/ 122873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1552575" h="228600">
                  <a:moveTo>
                    <a:pt x="59055" y="237173"/>
                  </a:moveTo>
                  <a:cubicBezTo>
                    <a:pt x="26670" y="237173"/>
                    <a:pt x="0" y="220980"/>
                    <a:pt x="0" y="184785"/>
                  </a:cubicBezTo>
                  <a:lnTo>
                    <a:pt x="0" y="182880"/>
                  </a:lnTo>
                  <a:cubicBezTo>
                    <a:pt x="0" y="139065"/>
                    <a:pt x="38100" y="123825"/>
                    <a:pt x="84773" y="123825"/>
                  </a:cubicBezTo>
                  <a:lnTo>
                    <a:pt x="106680" y="123825"/>
                  </a:lnTo>
                  <a:lnTo>
                    <a:pt x="106680" y="115253"/>
                  </a:lnTo>
                  <a:cubicBezTo>
                    <a:pt x="106680" y="97155"/>
                    <a:pt x="99060" y="86678"/>
                    <a:pt x="80010" y="86678"/>
                  </a:cubicBezTo>
                  <a:cubicBezTo>
                    <a:pt x="62865" y="86678"/>
                    <a:pt x="54293" y="96203"/>
                    <a:pt x="53340" y="109538"/>
                  </a:cubicBezTo>
                  <a:lnTo>
                    <a:pt x="5715" y="109538"/>
                  </a:lnTo>
                  <a:cubicBezTo>
                    <a:pt x="9525" y="69532"/>
                    <a:pt x="40958" y="50482"/>
                    <a:pt x="82868" y="50482"/>
                  </a:cubicBezTo>
                  <a:cubicBezTo>
                    <a:pt x="125730" y="50482"/>
                    <a:pt x="157163" y="68580"/>
                    <a:pt x="157163" y="113348"/>
                  </a:cubicBezTo>
                  <a:lnTo>
                    <a:pt x="157163" y="233362"/>
                  </a:lnTo>
                  <a:lnTo>
                    <a:pt x="108585" y="233362"/>
                  </a:lnTo>
                  <a:lnTo>
                    <a:pt x="108585" y="212408"/>
                  </a:lnTo>
                  <a:cubicBezTo>
                    <a:pt x="99060" y="225742"/>
                    <a:pt x="82868" y="237173"/>
                    <a:pt x="59055" y="237173"/>
                  </a:cubicBezTo>
                  <a:close/>
                  <a:moveTo>
                    <a:pt x="106680" y="174308"/>
                  </a:moveTo>
                  <a:lnTo>
                    <a:pt x="106680" y="157162"/>
                  </a:lnTo>
                  <a:lnTo>
                    <a:pt x="86678" y="157162"/>
                  </a:lnTo>
                  <a:cubicBezTo>
                    <a:pt x="61913" y="157162"/>
                    <a:pt x="49530" y="163830"/>
                    <a:pt x="49530" y="180023"/>
                  </a:cubicBezTo>
                  <a:lnTo>
                    <a:pt x="49530" y="181928"/>
                  </a:lnTo>
                  <a:cubicBezTo>
                    <a:pt x="49530" y="194310"/>
                    <a:pt x="57150" y="202883"/>
                    <a:pt x="74295" y="202883"/>
                  </a:cubicBezTo>
                  <a:cubicBezTo>
                    <a:pt x="91440" y="201930"/>
                    <a:pt x="106680" y="192405"/>
                    <a:pt x="106680" y="174308"/>
                  </a:cubicBezTo>
                  <a:close/>
                  <a:moveTo>
                    <a:pt x="270510" y="237173"/>
                  </a:moveTo>
                  <a:cubicBezTo>
                    <a:pt x="220980" y="237173"/>
                    <a:pt x="184785" y="206692"/>
                    <a:pt x="184785" y="145733"/>
                  </a:cubicBezTo>
                  <a:lnTo>
                    <a:pt x="184785" y="142875"/>
                  </a:lnTo>
                  <a:cubicBezTo>
                    <a:pt x="184785" y="81915"/>
                    <a:pt x="222885" y="49530"/>
                    <a:pt x="270510" y="49530"/>
                  </a:cubicBezTo>
                  <a:cubicBezTo>
                    <a:pt x="311468" y="49530"/>
                    <a:pt x="344805" y="70485"/>
                    <a:pt x="348615" y="117157"/>
                  </a:cubicBezTo>
                  <a:lnTo>
                    <a:pt x="300990" y="117157"/>
                  </a:lnTo>
                  <a:cubicBezTo>
                    <a:pt x="298133" y="100013"/>
                    <a:pt x="288608" y="88582"/>
                    <a:pt x="271463" y="88582"/>
                  </a:cubicBezTo>
                  <a:cubicBezTo>
                    <a:pt x="250508" y="88582"/>
                    <a:pt x="235268" y="105728"/>
                    <a:pt x="235268" y="140970"/>
                  </a:cubicBezTo>
                  <a:lnTo>
                    <a:pt x="235268" y="146685"/>
                  </a:lnTo>
                  <a:cubicBezTo>
                    <a:pt x="235268" y="182880"/>
                    <a:pt x="248603" y="199073"/>
                    <a:pt x="271463" y="199073"/>
                  </a:cubicBezTo>
                  <a:cubicBezTo>
                    <a:pt x="288608" y="199073"/>
                    <a:pt x="300990" y="186690"/>
                    <a:pt x="303848" y="166687"/>
                  </a:cubicBezTo>
                  <a:lnTo>
                    <a:pt x="349568" y="166687"/>
                  </a:lnTo>
                  <a:cubicBezTo>
                    <a:pt x="346710" y="208598"/>
                    <a:pt x="319088" y="237173"/>
                    <a:pt x="270510" y="237173"/>
                  </a:cubicBezTo>
                  <a:close/>
                  <a:moveTo>
                    <a:pt x="457200" y="237173"/>
                  </a:moveTo>
                  <a:cubicBezTo>
                    <a:pt x="407670" y="237173"/>
                    <a:pt x="371475" y="206692"/>
                    <a:pt x="371475" y="145733"/>
                  </a:cubicBezTo>
                  <a:lnTo>
                    <a:pt x="371475" y="142875"/>
                  </a:lnTo>
                  <a:cubicBezTo>
                    <a:pt x="371475" y="81915"/>
                    <a:pt x="409575" y="49530"/>
                    <a:pt x="457200" y="49530"/>
                  </a:cubicBezTo>
                  <a:cubicBezTo>
                    <a:pt x="498158" y="49530"/>
                    <a:pt x="531495" y="70485"/>
                    <a:pt x="535305" y="117157"/>
                  </a:cubicBezTo>
                  <a:lnTo>
                    <a:pt x="487680" y="117157"/>
                  </a:lnTo>
                  <a:cubicBezTo>
                    <a:pt x="484823" y="100013"/>
                    <a:pt x="475298" y="88582"/>
                    <a:pt x="458153" y="88582"/>
                  </a:cubicBezTo>
                  <a:cubicBezTo>
                    <a:pt x="437198" y="88582"/>
                    <a:pt x="421958" y="105728"/>
                    <a:pt x="421958" y="140970"/>
                  </a:cubicBezTo>
                  <a:lnTo>
                    <a:pt x="421958" y="146685"/>
                  </a:lnTo>
                  <a:cubicBezTo>
                    <a:pt x="421958" y="182880"/>
                    <a:pt x="435293" y="199073"/>
                    <a:pt x="458153" y="199073"/>
                  </a:cubicBezTo>
                  <a:cubicBezTo>
                    <a:pt x="475298" y="199073"/>
                    <a:pt x="487680" y="186690"/>
                    <a:pt x="490538" y="166687"/>
                  </a:cubicBezTo>
                  <a:lnTo>
                    <a:pt x="536258" y="166687"/>
                  </a:lnTo>
                  <a:cubicBezTo>
                    <a:pt x="533400" y="208598"/>
                    <a:pt x="505778" y="237173"/>
                    <a:pt x="457200" y="237173"/>
                  </a:cubicBezTo>
                  <a:close/>
                  <a:moveTo>
                    <a:pt x="644843" y="237173"/>
                  </a:moveTo>
                  <a:cubicBezTo>
                    <a:pt x="593408" y="237173"/>
                    <a:pt x="558165" y="206692"/>
                    <a:pt x="558165" y="146685"/>
                  </a:cubicBezTo>
                  <a:lnTo>
                    <a:pt x="558165" y="142875"/>
                  </a:lnTo>
                  <a:cubicBezTo>
                    <a:pt x="558165" y="82867"/>
                    <a:pt x="595313" y="49530"/>
                    <a:pt x="643890" y="49530"/>
                  </a:cubicBezTo>
                  <a:cubicBezTo>
                    <a:pt x="688658" y="49530"/>
                    <a:pt x="725805" y="74295"/>
                    <a:pt x="725805" y="134303"/>
                  </a:cubicBezTo>
                  <a:lnTo>
                    <a:pt x="725805" y="156210"/>
                  </a:lnTo>
                  <a:lnTo>
                    <a:pt x="608648" y="156210"/>
                  </a:lnTo>
                  <a:cubicBezTo>
                    <a:pt x="610553" y="188595"/>
                    <a:pt x="624840" y="200978"/>
                    <a:pt x="645795" y="200978"/>
                  </a:cubicBezTo>
                  <a:cubicBezTo>
                    <a:pt x="664845" y="200978"/>
                    <a:pt x="675323" y="190500"/>
                    <a:pt x="679133" y="178117"/>
                  </a:cubicBezTo>
                  <a:lnTo>
                    <a:pt x="725805" y="178117"/>
                  </a:lnTo>
                  <a:cubicBezTo>
                    <a:pt x="720090" y="211455"/>
                    <a:pt x="691515" y="237173"/>
                    <a:pt x="644843" y="237173"/>
                  </a:cubicBezTo>
                  <a:close/>
                  <a:moveTo>
                    <a:pt x="609600" y="122873"/>
                  </a:moveTo>
                  <a:lnTo>
                    <a:pt x="676275" y="122873"/>
                  </a:lnTo>
                  <a:cubicBezTo>
                    <a:pt x="675323" y="96203"/>
                    <a:pt x="662940" y="84773"/>
                    <a:pt x="642938" y="84773"/>
                  </a:cubicBezTo>
                  <a:cubicBezTo>
                    <a:pt x="627698" y="85725"/>
                    <a:pt x="613410" y="94298"/>
                    <a:pt x="609600" y="122873"/>
                  </a:cubicBezTo>
                  <a:close/>
                  <a:moveTo>
                    <a:pt x="756285" y="54292"/>
                  </a:moveTo>
                  <a:lnTo>
                    <a:pt x="806768" y="54292"/>
                  </a:lnTo>
                  <a:lnTo>
                    <a:pt x="806768" y="80963"/>
                  </a:lnTo>
                  <a:cubicBezTo>
                    <a:pt x="815340" y="63817"/>
                    <a:pt x="833438" y="50482"/>
                    <a:pt x="861060" y="50482"/>
                  </a:cubicBezTo>
                  <a:cubicBezTo>
                    <a:pt x="893445" y="50482"/>
                    <a:pt x="915353" y="70485"/>
                    <a:pt x="915353" y="113348"/>
                  </a:cubicBezTo>
                  <a:lnTo>
                    <a:pt x="915353" y="233362"/>
                  </a:lnTo>
                  <a:lnTo>
                    <a:pt x="864870" y="233362"/>
                  </a:lnTo>
                  <a:lnTo>
                    <a:pt x="864870" y="120967"/>
                  </a:lnTo>
                  <a:cubicBezTo>
                    <a:pt x="864870" y="100013"/>
                    <a:pt x="856298" y="90488"/>
                    <a:pt x="838200" y="90488"/>
                  </a:cubicBezTo>
                  <a:cubicBezTo>
                    <a:pt x="821055" y="90488"/>
                    <a:pt x="806768" y="100965"/>
                    <a:pt x="806768" y="123825"/>
                  </a:cubicBezTo>
                  <a:lnTo>
                    <a:pt x="806768" y="233362"/>
                  </a:lnTo>
                  <a:lnTo>
                    <a:pt x="756285" y="233362"/>
                  </a:lnTo>
                  <a:lnTo>
                    <a:pt x="756285" y="54292"/>
                  </a:lnTo>
                  <a:close/>
                  <a:moveTo>
                    <a:pt x="1007745" y="0"/>
                  </a:moveTo>
                  <a:lnTo>
                    <a:pt x="1007745" y="54292"/>
                  </a:lnTo>
                  <a:lnTo>
                    <a:pt x="1042035" y="54292"/>
                  </a:lnTo>
                  <a:lnTo>
                    <a:pt x="1042035" y="91440"/>
                  </a:lnTo>
                  <a:lnTo>
                    <a:pt x="1007745" y="91440"/>
                  </a:lnTo>
                  <a:lnTo>
                    <a:pt x="1007745" y="176212"/>
                  </a:lnTo>
                  <a:cubicBezTo>
                    <a:pt x="1007745" y="189548"/>
                    <a:pt x="1013460" y="196215"/>
                    <a:pt x="1025843" y="196215"/>
                  </a:cubicBezTo>
                  <a:cubicBezTo>
                    <a:pt x="1033463" y="196215"/>
                    <a:pt x="1038225" y="195262"/>
                    <a:pt x="1042988" y="193358"/>
                  </a:cubicBezTo>
                  <a:lnTo>
                    <a:pt x="1042988" y="232410"/>
                  </a:lnTo>
                  <a:cubicBezTo>
                    <a:pt x="1037273" y="234315"/>
                    <a:pt x="1026795" y="236220"/>
                    <a:pt x="1014413" y="236220"/>
                  </a:cubicBezTo>
                  <a:cubicBezTo>
                    <a:pt x="975360" y="236220"/>
                    <a:pt x="957263" y="218123"/>
                    <a:pt x="957263" y="181928"/>
                  </a:cubicBezTo>
                  <a:lnTo>
                    <a:pt x="957263" y="91440"/>
                  </a:lnTo>
                  <a:lnTo>
                    <a:pt x="936308" y="91440"/>
                  </a:lnTo>
                  <a:lnTo>
                    <a:pt x="936308" y="54292"/>
                  </a:lnTo>
                  <a:lnTo>
                    <a:pt x="957263" y="54292"/>
                  </a:lnTo>
                  <a:lnTo>
                    <a:pt x="957263" y="20955"/>
                  </a:lnTo>
                  <a:lnTo>
                    <a:pt x="1007745" y="0"/>
                  </a:lnTo>
                  <a:close/>
                  <a:moveTo>
                    <a:pt x="1230630" y="233362"/>
                  </a:moveTo>
                  <a:lnTo>
                    <a:pt x="1181100" y="233362"/>
                  </a:lnTo>
                  <a:lnTo>
                    <a:pt x="1181100" y="206692"/>
                  </a:lnTo>
                  <a:cubicBezTo>
                    <a:pt x="1172528" y="223837"/>
                    <a:pt x="1155383" y="237173"/>
                    <a:pt x="1128713" y="237173"/>
                  </a:cubicBezTo>
                  <a:cubicBezTo>
                    <a:pt x="1096328" y="237173"/>
                    <a:pt x="1072515" y="217170"/>
                    <a:pt x="1072515" y="175260"/>
                  </a:cubicBezTo>
                  <a:lnTo>
                    <a:pt x="1072515" y="54292"/>
                  </a:lnTo>
                  <a:lnTo>
                    <a:pt x="1122998" y="54292"/>
                  </a:lnTo>
                  <a:lnTo>
                    <a:pt x="1122998" y="168592"/>
                  </a:lnTo>
                  <a:cubicBezTo>
                    <a:pt x="1122998" y="189548"/>
                    <a:pt x="1131570" y="199073"/>
                    <a:pt x="1148715" y="199073"/>
                  </a:cubicBezTo>
                  <a:cubicBezTo>
                    <a:pt x="1165860" y="199073"/>
                    <a:pt x="1180148" y="187642"/>
                    <a:pt x="1180148" y="165735"/>
                  </a:cubicBezTo>
                  <a:lnTo>
                    <a:pt x="1180148" y="54292"/>
                  </a:lnTo>
                  <a:lnTo>
                    <a:pt x="1230630" y="54292"/>
                  </a:lnTo>
                  <a:lnTo>
                    <a:pt x="1230630" y="233362"/>
                  </a:lnTo>
                  <a:close/>
                  <a:moveTo>
                    <a:pt x="1267778" y="54292"/>
                  </a:moveTo>
                  <a:lnTo>
                    <a:pt x="1318260" y="54292"/>
                  </a:lnTo>
                  <a:lnTo>
                    <a:pt x="1318260" y="87630"/>
                  </a:lnTo>
                  <a:cubicBezTo>
                    <a:pt x="1328738" y="63817"/>
                    <a:pt x="1345883" y="52388"/>
                    <a:pt x="1372553" y="52388"/>
                  </a:cubicBezTo>
                  <a:lnTo>
                    <a:pt x="1372553" y="101917"/>
                  </a:lnTo>
                  <a:cubicBezTo>
                    <a:pt x="1338263" y="101917"/>
                    <a:pt x="1318260" y="112395"/>
                    <a:pt x="1318260" y="141923"/>
                  </a:cubicBezTo>
                  <a:lnTo>
                    <a:pt x="1318260" y="234315"/>
                  </a:lnTo>
                  <a:lnTo>
                    <a:pt x="1267778" y="234315"/>
                  </a:lnTo>
                  <a:lnTo>
                    <a:pt x="1267778" y="54292"/>
                  </a:lnTo>
                  <a:close/>
                  <a:moveTo>
                    <a:pt x="1474470" y="237173"/>
                  </a:moveTo>
                  <a:cubicBezTo>
                    <a:pt x="1423035" y="237173"/>
                    <a:pt x="1387793" y="206692"/>
                    <a:pt x="1387793" y="146685"/>
                  </a:cubicBezTo>
                  <a:lnTo>
                    <a:pt x="1387793" y="142875"/>
                  </a:lnTo>
                  <a:cubicBezTo>
                    <a:pt x="1387793" y="82867"/>
                    <a:pt x="1424940" y="49530"/>
                    <a:pt x="1473518" y="49530"/>
                  </a:cubicBezTo>
                  <a:cubicBezTo>
                    <a:pt x="1518285" y="49530"/>
                    <a:pt x="1555433" y="74295"/>
                    <a:pt x="1555433" y="134303"/>
                  </a:cubicBezTo>
                  <a:lnTo>
                    <a:pt x="1555433" y="156210"/>
                  </a:lnTo>
                  <a:lnTo>
                    <a:pt x="1439228" y="156210"/>
                  </a:lnTo>
                  <a:cubicBezTo>
                    <a:pt x="1441133" y="188595"/>
                    <a:pt x="1455420" y="200978"/>
                    <a:pt x="1476375" y="200978"/>
                  </a:cubicBezTo>
                  <a:cubicBezTo>
                    <a:pt x="1495425" y="200978"/>
                    <a:pt x="1505903" y="190500"/>
                    <a:pt x="1509713" y="178117"/>
                  </a:cubicBezTo>
                  <a:lnTo>
                    <a:pt x="1556385" y="178117"/>
                  </a:lnTo>
                  <a:cubicBezTo>
                    <a:pt x="1548765" y="211455"/>
                    <a:pt x="1521143" y="237173"/>
                    <a:pt x="1474470" y="237173"/>
                  </a:cubicBezTo>
                  <a:close/>
                  <a:moveTo>
                    <a:pt x="1438275" y="122873"/>
                  </a:moveTo>
                  <a:lnTo>
                    <a:pt x="1505903" y="122873"/>
                  </a:lnTo>
                  <a:cubicBezTo>
                    <a:pt x="1504950" y="96203"/>
                    <a:pt x="1492568" y="84773"/>
                    <a:pt x="1472565" y="84773"/>
                  </a:cubicBezTo>
                  <a:cubicBezTo>
                    <a:pt x="1457325" y="85725"/>
                    <a:pt x="1443038" y="94298"/>
                    <a:pt x="1438275" y="122873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46309595-3420-42C2-BA4F-02A538AE0B3D}"/>
              </a:ext>
            </a:extLst>
          </p:cNvPr>
          <p:cNvSpPr/>
          <p:nvPr/>
        </p:nvSpPr>
        <p:spPr>
          <a:xfrm>
            <a:off x="497220" y="5374321"/>
            <a:ext cx="23647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Bold" panose="020B0803030202060203" pitchFamily="34" charset="0"/>
                <a:ea typeface="+mn-ea"/>
                <a:cs typeface="+mn-cs"/>
              </a:rPr>
              <a:t>SETEMBRO 2022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BFDFCD0-8E5E-4C5E-8A1F-B74F6C654226}"/>
              </a:ext>
            </a:extLst>
          </p:cNvPr>
          <p:cNvSpPr txBox="1">
            <a:spLocks/>
          </p:cNvSpPr>
          <p:nvPr/>
        </p:nvSpPr>
        <p:spPr>
          <a:xfrm>
            <a:off x="424795" y="3510385"/>
            <a:ext cx="6598173" cy="300132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i="0" kern="1200" cap="all" baseline="0">
                <a:solidFill>
                  <a:schemeClr val="accent6">
                    <a:lumMod val="50000"/>
                  </a:schemeClr>
                </a:solidFill>
                <a:latin typeface="Graphik Black" panose="020B0503030202060203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54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Black" panose="020B0503030202060203" pitchFamily="34" charset="77"/>
              </a:rPr>
              <a:t>FiBRASIL </a:t>
            </a:r>
          </a:p>
          <a:p>
            <a:pPr marL="0" marR="0" lvl="0" indent="0" algn="l" defTabSz="914377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4400" dirty="0">
                <a:solidFill>
                  <a:srgbClr val="FFFFFF"/>
                </a:solidFill>
              </a:rPr>
              <a:t>Integração </a:t>
            </a:r>
            <a:r>
              <a:rPr lang="pt-BR" sz="4400" dirty="0" err="1">
                <a:solidFill>
                  <a:srgbClr val="FFFFFF"/>
                </a:solidFill>
              </a:rPr>
              <a:t>jwt</a:t>
            </a:r>
            <a:endParaRPr kumimoji="0" lang="pt-BR" sz="2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lack" panose="020B0503030202060203" pitchFamily="34" charset="77"/>
            </a:endParaRPr>
          </a:p>
          <a:p>
            <a:pPr marL="0" marR="0" lvl="0" indent="0" algn="l" defTabSz="914377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4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lack" panose="020B0503030202060203" pitchFamily="34" charset="77"/>
            </a:endParaRPr>
          </a:p>
        </p:txBody>
      </p:sp>
      <p:pic>
        <p:nvPicPr>
          <p:cNvPr id="11" name="Imagem 7" descr="Texto, Logotipo&#10;&#10;Descrição gerada automaticamente">
            <a:extLst>
              <a:ext uri="{FF2B5EF4-FFF2-40B4-BE49-F238E27FC236}">
                <a16:creationId xmlns:a16="http://schemas.microsoft.com/office/drawing/2014/main" id="{40F41184-1CFC-42C0-9BA9-51246C866AB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020" y="5774431"/>
            <a:ext cx="2351678" cy="958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8607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A46283-03E5-4E23-8A77-D3B7CF380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A46283-03E5-4E23-8A77-D3B7CF380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CE88707-6C53-449F-B5D8-35AB96C36C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40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1" name="Title 2">
            <a:extLst>
              <a:ext uri="{FF2B5EF4-FFF2-40B4-BE49-F238E27FC236}">
                <a16:creationId xmlns:a16="http://schemas.microsoft.com/office/drawing/2014/main" id="{84AE0E1E-00B7-4FF5-B5DE-B24DE4776742}"/>
              </a:ext>
            </a:extLst>
          </p:cNvPr>
          <p:cNvSpPr txBox="1">
            <a:spLocks/>
          </p:cNvSpPr>
          <p:nvPr/>
        </p:nvSpPr>
        <p:spPr bwMode="auto">
          <a:xfrm>
            <a:off x="363029" y="198211"/>
            <a:ext cx="11533223" cy="10701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EC501B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chemeClr val="tx1"/>
                </a:solidFill>
              </a:rPr>
              <a:t>Padrão </a:t>
            </a:r>
            <a:r>
              <a:rPr lang="pt-BR" sz="2800" dirty="0" err="1">
                <a:solidFill>
                  <a:schemeClr val="tx1"/>
                </a:solidFill>
              </a:rPr>
              <a:t>jwt</a:t>
            </a:r>
            <a:r>
              <a:rPr lang="pt-BR" sz="2800" dirty="0">
                <a:solidFill>
                  <a:schemeClr val="tx1"/>
                </a:solidFill>
              </a:rPr>
              <a:t> (</a:t>
            </a:r>
            <a:r>
              <a:rPr lang="pt-BR" sz="2800" dirty="0" err="1">
                <a:solidFill>
                  <a:schemeClr val="tx1"/>
                </a:solidFill>
              </a:rPr>
              <a:t>json</a:t>
            </a:r>
            <a:r>
              <a:rPr lang="pt-BR" sz="2800" dirty="0">
                <a:solidFill>
                  <a:schemeClr val="tx1"/>
                </a:solidFill>
              </a:rPr>
              <a:t> web token)</a:t>
            </a:r>
            <a:endParaRPr lang="pt-BR" sz="2800" b="1" cap="none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F1A1BF-AE21-4576-84DD-919BFDAE3D6A}"/>
              </a:ext>
            </a:extLst>
          </p:cNvPr>
          <p:cNvSpPr/>
          <p:nvPr/>
        </p:nvSpPr>
        <p:spPr>
          <a:xfrm>
            <a:off x="11471782" y="103236"/>
            <a:ext cx="714375" cy="455502"/>
          </a:xfrm>
          <a:prstGeom prst="rect">
            <a:avLst/>
          </a:prstGeom>
          <a:solidFill>
            <a:srgbClr val="FFFFFF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5C69D41-A995-64EB-2A53-5FDF2392B392}"/>
              </a:ext>
            </a:extLst>
          </p:cNvPr>
          <p:cNvGraphicFramePr/>
          <p:nvPr/>
        </p:nvGraphicFramePr>
        <p:xfrm>
          <a:off x="468203" y="652696"/>
          <a:ext cx="11139714" cy="7694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Left Brace 1">
            <a:extLst>
              <a:ext uri="{FF2B5EF4-FFF2-40B4-BE49-F238E27FC236}">
                <a16:creationId xmlns:a16="http://schemas.microsoft.com/office/drawing/2014/main" id="{18F07636-C152-EDAB-533C-D2D3B20AA408}"/>
              </a:ext>
            </a:extLst>
          </p:cNvPr>
          <p:cNvSpPr/>
          <p:nvPr/>
        </p:nvSpPr>
        <p:spPr>
          <a:xfrm>
            <a:off x="5776803" y="2991086"/>
            <a:ext cx="261257" cy="348343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0868AD-5E32-9622-41A0-A6481FD7663E}"/>
              </a:ext>
            </a:extLst>
          </p:cNvPr>
          <p:cNvSpPr txBox="1"/>
          <p:nvPr/>
        </p:nvSpPr>
        <p:spPr>
          <a:xfrm>
            <a:off x="4916841" y="2970097"/>
            <a:ext cx="849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Read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D9176E-7C5B-0D25-E486-3D9C390ABC58}"/>
              </a:ext>
            </a:extLst>
          </p:cNvPr>
          <p:cNvSpPr txBox="1"/>
          <p:nvPr/>
        </p:nvSpPr>
        <p:spPr>
          <a:xfrm>
            <a:off x="5940096" y="294832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Altogitmo</a:t>
            </a:r>
            <a:r>
              <a:rPr lang="pt-BR" dirty="0"/>
              <a:t> utilizad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111C29-D009-B42F-2363-2EA56F2C2B26}"/>
              </a:ext>
            </a:extLst>
          </p:cNvPr>
          <p:cNvSpPr txBox="1"/>
          <p:nvPr/>
        </p:nvSpPr>
        <p:spPr>
          <a:xfrm>
            <a:off x="4851530" y="4383789"/>
            <a:ext cx="916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Payload</a:t>
            </a:r>
            <a:endParaRPr lang="pt-BR" dirty="0"/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ED45393F-0DCE-A911-E7CD-84DAEB69C3B5}"/>
              </a:ext>
            </a:extLst>
          </p:cNvPr>
          <p:cNvSpPr/>
          <p:nvPr/>
        </p:nvSpPr>
        <p:spPr>
          <a:xfrm>
            <a:off x="5733265" y="3884383"/>
            <a:ext cx="261256" cy="144255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DB5B8D-A753-A313-9C09-E6DB4894FA80}"/>
              </a:ext>
            </a:extLst>
          </p:cNvPr>
          <p:cNvSpPr txBox="1"/>
          <p:nvPr/>
        </p:nvSpPr>
        <p:spPr>
          <a:xfrm>
            <a:off x="5929202" y="3849606"/>
            <a:ext cx="707572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ClientID</a:t>
            </a:r>
            <a:r>
              <a:rPr lang="pt-BR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Usuári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URL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Tempo (padrão UNIX, expresso em segundos a partir de 1970-01T0:0:00z) UTC) com intervalo até 3~5 minuto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3FD6430-1564-5B67-6059-830D3E720479}"/>
              </a:ext>
            </a:extLst>
          </p:cNvPr>
          <p:cNvSpPr txBox="1"/>
          <p:nvPr/>
        </p:nvSpPr>
        <p:spPr>
          <a:xfrm>
            <a:off x="4622927" y="5916566"/>
            <a:ext cx="11652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Assinatura</a:t>
            </a:r>
          </a:p>
        </p:txBody>
      </p:sp>
      <p:sp>
        <p:nvSpPr>
          <p:cNvPr id="16" name="Left Brace 15">
            <a:extLst>
              <a:ext uri="{FF2B5EF4-FFF2-40B4-BE49-F238E27FC236}">
                <a16:creationId xmlns:a16="http://schemas.microsoft.com/office/drawing/2014/main" id="{EB1A6EDD-202B-BF48-77E0-980C4EB58660}"/>
              </a:ext>
            </a:extLst>
          </p:cNvPr>
          <p:cNvSpPr/>
          <p:nvPr/>
        </p:nvSpPr>
        <p:spPr>
          <a:xfrm>
            <a:off x="5766412" y="5713186"/>
            <a:ext cx="228118" cy="828093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7BCF849-D1F2-460A-1DF8-03D6A4E10E41}"/>
              </a:ext>
            </a:extLst>
          </p:cNvPr>
          <p:cNvSpPr txBox="1"/>
          <p:nvPr/>
        </p:nvSpPr>
        <p:spPr>
          <a:xfrm>
            <a:off x="5924014" y="5778066"/>
            <a:ext cx="707572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Certificad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Chave privada.</a:t>
            </a:r>
          </a:p>
        </p:txBody>
      </p:sp>
      <p:sp>
        <p:nvSpPr>
          <p:cNvPr id="18" name="Left Brace 17">
            <a:extLst>
              <a:ext uri="{FF2B5EF4-FFF2-40B4-BE49-F238E27FC236}">
                <a16:creationId xmlns:a16="http://schemas.microsoft.com/office/drawing/2014/main" id="{4C133E5C-5112-2FB3-CA03-D3E30E3B9B8F}"/>
              </a:ext>
            </a:extLst>
          </p:cNvPr>
          <p:cNvSpPr/>
          <p:nvPr/>
        </p:nvSpPr>
        <p:spPr>
          <a:xfrm>
            <a:off x="4236483" y="2969314"/>
            <a:ext cx="261257" cy="343331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07F7737-2BED-94AD-19E6-5D36EAA56100}"/>
              </a:ext>
            </a:extLst>
          </p:cNvPr>
          <p:cNvSpPr txBox="1"/>
          <p:nvPr/>
        </p:nvSpPr>
        <p:spPr>
          <a:xfrm>
            <a:off x="2340370" y="4492594"/>
            <a:ext cx="19179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Criptografia RS256</a:t>
            </a:r>
          </a:p>
        </p:txBody>
      </p:sp>
      <p:sp>
        <p:nvSpPr>
          <p:cNvPr id="20" name="Left Brace 19">
            <a:extLst>
              <a:ext uri="{FF2B5EF4-FFF2-40B4-BE49-F238E27FC236}">
                <a16:creationId xmlns:a16="http://schemas.microsoft.com/office/drawing/2014/main" id="{22B00CFE-802E-37B0-3715-593D1B16872C}"/>
              </a:ext>
            </a:extLst>
          </p:cNvPr>
          <p:cNvSpPr/>
          <p:nvPr/>
        </p:nvSpPr>
        <p:spPr>
          <a:xfrm>
            <a:off x="2046026" y="2079941"/>
            <a:ext cx="299709" cy="63969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925F47-40AF-897F-B176-968A0E1E66FD}"/>
              </a:ext>
            </a:extLst>
          </p:cNvPr>
          <p:cNvSpPr txBox="1"/>
          <p:nvPr/>
        </p:nvSpPr>
        <p:spPr>
          <a:xfrm>
            <a:off x="891480" y="2195173"/>
            <a:ext cx="12101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grant_type</a:t>
            </a:r>
            <a:endParaRPr lang="pt-BR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7AD1E24-233C-DF7C-DBAD-0DFFD73490D3}"/>
              </a:ext>
            </a:extLst>
          </p:cNvPr>
          <p:cNvSpPr txBox="1"/>
          <p:nvPr/>
        </p:nvSpPr>
        <p:spPr>
          <a:xfrm>
            <a:off x="1044035" y="4486361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assertion</a:t>
            </a:r>
            <a:endParaRPr lang="pt-BR" dirty="0"/>
          </a:p>
        </p:txBody>
      </p:sp>
      <p:sp>
        <p:nvSpPr>
          <p:cNvPr id="22" name="Left Brace 21">
            <a:extLst>
              <a:ext uri="{FF2B5EF4-FFF2-40B4-BE49-F238E27FC236}">
                <a16:creationId xmlns:a16="http://schemas.microsoft.com/office/drawing/2014/main" id="{814F3672-20D3-42C7-77A9-F93A54B97022}"/>
              </a:ext>
            </a:extLst>
          </p:cNvPr>
          <p:cNvSpPr/>
          <p:nvPr/>
        </p:nvSpPr>
        <p:spPr>
          <a:xfrm>
            <a:off x="2040930" y="2991086"/>
            <a:ext cx="299709" cy="341154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FC505E0-C2C3-F6FE-646B-233419B0EF01}"/>
              </a:ext>
            </a:extLst>
          </p:cNvPr>
          <p:cNvSpPr txBox="1"/>
          <p:nvPr/>
        </p:nvSpPr>
        <p:spPr>
          <a:xfrm>
            <a:off x="2193332" y="2176210"/>
            <a:ext cx="65043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 err="1"/>
              <a:t>urn:ietf:params:oauth:grant-type:jwt-bearer</a:t>
            </a:r>
            <a:endParaRPr lang="pt-BR" dirty="0"/>
          </a:p>
        </p:txBody>
      </p:sp>
      <p:sp>
        <p:nvSpPr>
          <p:cNvPr id="24" name="Left Brace 23">
            <a:extLst>
              <a:ext uri="{FF2B5EF4-FFF2-40B4-BE49-F238E27FC236}">
                <a16:creationId xmlns:a16="http://schemas.microsoft.com/office/drawing/2014/main" id="{C31A1E0F-FDA9-C0C9-9BB5-CB69694C592B}"/>
              </a:ext>
            </a:extLst>
          </p:cNvPr>
          <p:cNvSpPr/>
          <p:nvPr/>
        </p:nvSpPr>
        <p:spPr>
          <a:xfrm>
            <a:off x="739077" y="2236413"/>
            <a:ext cx="304805" cy="264771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990A2F0-CB50-2A9E-6518-5F5E01EDB985}"/>
              </a:ext>
            </a:extLst>
          </p:cNvPr>
          <p:cNvSpPr txBox="1"/>
          <p:nvPr/>
        </p:nvSpPr>
        <p:spPr>
          <a:xfrm>
            <a:off x="133426" y="3238052"/>
            <a:ext cx="6719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POST</a:t>
            </a:r>
          </a:p>
          <a:p>
            <a:r>
              <a:rPr lang="pt-BR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14375004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A46283-03E5-4E23-8A77-D3B7CF380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A46283-03E5-4E23-8A77-D3B7CF380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CE88707-6C53-449F-B5D8-35AB96C36C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40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1" name="Title 2">
            <a:extLst>
              <a:ext uri="{FF2B5EF4-FFF2-40B4-BE49-F238E27FC236}">
                <a16:creationId xmlns:a16="http://schemas.microsoft.com/office/drawing/2014/main" id="{84AE0E1E-00B7-4FF5-B5DE-B24DE4776742}"/>
              </a:ext>
            </a:extLst>
          </p:cNvPr>
          <p:cNvSpPr txBox="1">
            <a:spLocks/>
          </p:cNvSpPr>
          <p:nvPr/>
        </p:nvSpPr>
        <p:spPr bwMode="auto">
          <a:xfrm>
            <a:off x="363029" y="198211"/>
            <a:ext cx="11533223" cy="10701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EC501B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chemeClr val="tx1"/>
                </a:solidFill>
              </a:rPr>
              <a:t>Padrão </a:t>
            </a:r>
            <a:r>
              <a:rPr lang="pt-BR" sz="2800" dirty="0" err="1">
                <a:solidFill>
                  <a:schemeClr val="tx1"/>
                </a:solidFill>
              </a:rPr>
              <a:t>jwt</a:t>
            </a:r>
            <a:r>
              <a:rPr lang="pt-BR" sz="2800" dirty="0">
                <a:solidFill>
                  <a:schemeClr val="tx1"/>
                </a:solidFill>
              </a:rPr>
              <a:t> (</a:t>
            </a:r>
            <a:r>
              <a:rPr lang="pt-BR" sz="2800" dirty="0" err="1">
                <a:solidFill>
                  <a:schemeClr val="tx1"/>
                </a:solidFill>
              </a:rPr>
              <a:t>json</a:t>
            </a:r>
            <a:r>
              <a:rPr lang="pt-BR" sz="2800" dirty="0">
                <a:solidFill>
                  <a:schemeClr val="tx1"/>
                </a:solidFill>
              </a:rPr>
              <a:t> web token)</a:t>
            </a:r>
            <a:endParaRPr lang="pt-BR" sz="2800" b="1" cap="none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F1A1BF-AE21-4576-84DD-919BFDAE3D6A}"/>
              </a:ext>
            </a:extLst>
          </p:cNvPr>
          <p:cNvSpPr/>
          <p:nvPr/>
        </p:nvSpPr>
        <p:spPr>
          <a:xfrm>
            <a:off x="11471782" y="103236"/>
            <a:ext cx="714375" cy="455502"/>
          </a:xfrm>
          <a:prstGeom prst="rect">
            <a:avLst/>
          </a:prstGeom>
          <a:solidFill>
            <a:srgbClr val="FFFFFF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5C69D41-A995-64EB-2A53-5FDF2392B3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168049"/>
              </p:ext>
            </p:extLst>
          </p:nvPr>
        </p:nvGraphicFramePr>
        <p:xfrm>
          <a:off x="475343" y="893837"/>
          <a:ext cx="11139714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6145116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A46283-03E5-4E23-8A77-D3B7CF380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A46283-03E5-4E23-8A77-D3B7CF380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CE88707-6C53-449F-B5D8-35AB96C36C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40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1" name="Title 2">
            <a:extLst>
              <a:ext uri="{FF2B5EF4-FFF2-40B4-BE49-F238E27FC236}">
                <a16:creationId xmlns:a16="http://schemas.microsoft.com/office/drawing/2014/main" id="{84AE0E1E-00B7-4FF5-B5DE-B24DE4776742}"/>
              </a:ext>
            </a:extLst>
          </p:cNvPr>
          <p:cNvSpPr txBox="1">
            <a:spLocks/>
          </p:cNvSpPr>
          <p:nvPr/>
        </p:nvSpPr>
        <p:spPr bwMode="auto">
          <a:xfrm>
            <a:off x="363029" y="198211"/>
            <a:ext cx="11533223" cy="10701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EC501B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chemeClr val="tx1"/>
                </a:solidFill>
              </a:rPr>
              <a:t>Padrão </a:t>
            </a:r>
            <a:r>
              <a:rPr lang="pt-BR" sz="2800" dirty="0" err="1">
                <a:solidFill>
                  <a:schemeClr val="tx1"/>
                </a:solidFill>
              </a:rPr>
              <a:t>jwt</a:t>
            </a:r>
            <a:r>
              <a:rPr lang="pt-BR" sz="2800" dirty="0">
                <a:solidFill>
                  <a:schemeClr val="tx1"/>
                </a:solidFill>
              </a:rPr>
              <a:t> (</a:t>
            </a:r>
            <a:r>
              <a:rPr lang="pt-BR" sz="2800" dirty="0" err="1">
                <a:solidFill>
                  <a:schemeClr val="tx1"/>
                </a:solidFill>
              </a:rPr>
              <a:t>json</a:t>
            </a:r>
            <a:r>
              <a:rPr lang="pt-BR" sz="2800" dirty="0">
                <a:solidFill>
                  <a:schemeClr val="tx1"/>
                </a:solidFill>
              </a:rPr>
              <a:t> web token)</a:t>
            </a:r>
            <a:endParaRPr lang="pt-BR" sz="2800" b="1" cap="none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F1A1BF-AE21-4576-84DD-919BFDAE3D6A}"/>
              </a:ext>
            </a:extLst>
          </p:cNvPr>
          <p:cNvSpPr/>
          <p:nvPr/>
        </p:nvSpPr>
        <p:spPr>
          <a:xfrm>
            <a:off x="11471782" y="103236"/>
            <a:ext cx="714375" cy="455502"/>
          </a:xfrm>
          <a:prstGeom prst="rect">
            <a:avLst/>
          </a:prstGeom>
          <a:solidFill>
            <a:srgbClr val="FFFFFF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B4AA4897-44A0-EBAF-1C91-C3C59606E3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632754"/>
              </p:ext>
            </p:extLst>
          </p:nvPr>
        </p:nvGraphicFramePr>
        <p:xfrm>
          <a:off x="1026141" y="1533435"/>
          <a:ext cx="10139718" cy="35572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79906">
                  <a:extLst>
                    <a:ext uri="{9D8B030D-6E8A-4147-A177-3AD203B41FA5}">
                      <a16:colId xmlns:a16="http://schemas.microsoft.com/office/drawing/2014/main" val="848344311"/>
                    </a:ext>
                  </a:extLst>
                </a:gridCol>
                <a:gridCol w="3379906">
                  <a:extLst>
                    <a:ext uri="{9D8B030D-6E8A-4147-A177-3AD203B41FA5}">
                      <a16:colId xmlns:a16="http://schemas.microsoft.com/office/drawing/2014/main" val="1056766188"/>
                    </a:ext>
                  </a:extLst>
                </a:gridCol>
                <a:gridCol w="3379906">
                  <a:extLst>
                    <a:ext uri="{9D8B030D-6E8A-4147-A177-3AD203B41FA5}">
                      <a16:colId xmlns:a16="http://schemas.microsoft.com/office/drawing/2014/main" val="4044109382"/>
                    </a:ext>
                  </a:extLst>
                </a:gridCol>
              </a:tblGrid>
              <a:tr h="400128">
                <a:tc>
                  <a:txBody>
                    <a:bodyPr/>
                    <a:lstStyle/>
                    <a:p>
                      <a:pPr algn="ctr"/>
                      <a:r>
                        <a:rPr lang="pt-BR" dirty="0"/>
                        <a:t>A defini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/>
                        <a:t>Accen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/>
                        <a:t>Clien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0803943"/>
                  </a:ext>
                </a:extLst>
              </a:tr>
              <a:tr h="1578585">
                <a:tc>
                  <a:txBody>
                    <a:bodyPr/>
                    <a:lstStyle/>
                    <a:p>
                      <a:pPr lvl="0" algn="ctr"/>
                      <a:r>
                        <a:rPr lang="pt-BR" dirty="0"/>
                        <a:t>Gerar chave privada de 2048 bits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dirty="0"/>
                        <a:t>Setup Salesforce: Importar Certificado,  Configurar usuário e perfil de integração, Configurações de sessão e politica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dirty="0"/>
                        <a:t>Gerar JWT com algoritmo de criptográfica RS256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730999"/>
                  </a:ext>
                </a:extLst>
              </a:tr>
              <a:tr h="1578585">
                <a:tc>
                  <a:txBody>
                    <a:bodyPr/>
                    <a:lstStyle/>
                    <a:p>
                      <a:pPr lvl="0" algn="ctr"/>
                      <a:r>
                        <a:rPr lang="pt-BR" dirty="0"/>
                        <a:t>Gerar um Certificado digital com formado X509, </a:t>
                      </a:r>
                      <a:r>
                        <a:rPr lang="pt-BR" dirty="0" err="1"/>
                        <a:t>autoassinado</a:t>
                      </a:r>
                      <a:r>
                        <a:rPr lang="pt-BR" dirty="0"/>
                        <a:t> com a chave privada gerada, e tamanho até 4KB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pt-BR" dirty="0"/>
                        <a:t>Envio de requisição (Grant </a:t>
                      </a:r>
                      <a:r>
                        <a:rPr lang="pt-BR" dirty="0" err="1"/>
                        <a:t>type</a:t>
                      </a:r>
                      <a:r>
                        <a:rPr lang="pt-BR" dirty="0"/>
                        <a:t> + JW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44439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55935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A46283-03E5-4E23-8A77-D3B7CF380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A46283-03E5-4E23-8A77-D3B7CF380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CE88707-6C53-449F-B5D8-35AB96C36C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87" name="Title 2">
            <a:extLst>
              <a:ext uri="{FF2B5EF4-FFF2-40B4-BE49-F238E27FC236}">
                <a16:creationId xmlns:a16="http://schemas.microsoft.com/office/drawing/2014/main" id="{465BF462-494E-400D-B626-FC53560D082F}"/>
              </a:ext>
            </a:extLst>
          </p:cNvPr>
          <p:cNvSpPr txBox="1">
            <a:spLocks/>
          </p:cNvSpPr>
          <p:nvPr/>
        </p:nvSpPr>
        <p:spPr bwMode="auto">
          <a:xfrm>
            <a:off x="342685" y="159969"/>
            <a:ext cx="12039815" cy="10701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EC501B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Black" panose="020B0A03030202060203" pitchFamily="34" charset="0"/>
                <a:ea typeface="+mj-ea"/>
                <a:cs typeface="+mj-cs"/>
              </a:rPr>
              <a:t>POC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7948920-865A-AADC-73C5-668D3190E7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57909" y="2003861"/>
            <a:ext cx="2337106" cy="921139"/>
          </a:xfrm>
          <a:prstGeom prst="rect">
            <a:avLst/>
          </a:prstGeom>
        </p:spPr>
      </p:pic>
      <p:pic>
        <p:nvPicPr>
          <p:cNvPr id="1026" name="Picture 2" descr="Login | Salesforce">
            <a:extLst>
              <a:ext uri="{FF2B5EF4-FFF2-40B4-BE49-F238E27FC236}">
                <a16:creationId xmlns:a16="http://schemas.microsoft.com/office/drawing/2014/main" id="{FD44D3A6-ACF2-728B-F934-ED09032291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893" y="2533649"/>
            <a:ext cx="2552700" cy="179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O que é Postman?">
            <a:extLst>
              <a:ext uri="{FF2B5EF4-FFF2-40B4-BE49-F238E27FC236}">
                <a16:creationId xmlns:a16="http://schemas.microsoft.com/office/drawing/2014/main" id="{251AEC94-998D-FE2D-9B3E-403614FE25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985" y="3429000"/>
            <a:ext cx="2952750" cy="1552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Plus Sign 9">
            <a:extLst>
              <a:ext uri="{FF2B5EF4-FFF2-40B4-BE49-F238E27FC236}">
                <a16:creationId xmlns:a16="http://schemas.microsoft.com/office/drawing/2014/main" id="{E287FE81-A704-7743-8B3B-4CFB50C5B542}"/>
              </a:ext>
            </a:extLst>
          </p:cNvPr>
          <p:cNvSpPr/>
          <p:nvPr/>
        </p:nvSpPr>
        <p:spPr>
          <a:xfrm>
            <a:off x="5485684" y="3064944"/>
            <a:ext cx="798809" cy="728111"/>
          </a:xfrm>
          <a:prstGeom prst="mathPlus">
            <a:avLst/>
          </a:prstGeom>
          <a:noFill/>
          <a:ln w="28575">
            <a:solidFill>
              <a:schemeClr val="accent5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21903E-2C65-5165-A6ED-E1FE41A2AC79}"/>
              </a:ext>
            </a:extLst>
          </p:cNvPr>
          <p:cNvSpPr txBox="1"/>
          <p:nvPr/>
        </p:nvSpPr>
        <p:spPr>
          <a:xfrm>
            <a:off x="3117989" y="3101572"/>
            <a:ext cx="365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&amp;</a:t>
            </a:r>
          </a:p>
        </p:txBody>
      </p:sp>
    </p:spTree>
    <p:extLst>
      <p:ext uri="{BB962C8B-B14F-4D97-AF65-F5344CB8AC3E}">
        <p14:creationId xmlns:p14="http://schemas.microsoft.com/office/powerpoint/2010/main" val="11486944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6F04E2-0B4E-4480-83D8-F931D32C07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6F04E2-0B4E-4480-83D8-F931D32C07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373E97F-A499-4FBB-BC88-9D3E0BD081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09585">
              <a:defRPr/>
            </a:pPr>
            <a:endParaRPr lang="pt-BR" sz="3733">
              <a:solidFill>
                <a:srgbClr val="000000"/>
              </a:solidFill>
              <a:latin typeface="Simplon Oi Headline" pitchFamily="2" charset="0"/>
              <a:ea typeface="ＭＳ Ｐゴシック" panose="020B0600070205080204" pitchFamily="34" charset="-128"/>
              <a:cs typeface="Simplon BP Regular"/>
              <a:sym typeface="Simplon Oi Headline" pitchFamily="2" charset="0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5A37B194-58A3-B347-A9B0-2E6DE8CC15E8}"/>
              </a:ext>
            </a:extLst>
          </p:cNvPr>
          <p:cNvSpPr txBox="1"/>
          <p:nvPr/>
        </p:nvSpPr>
        <p:spPr>
          <a:xfrm>
            <a:off x="3803374" y="2509077"/>
            <a:ext cx="4585252" cy="129871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400">
                <a:latin typeface="Simplon Oi Headline"/>
                <a:ea typeface="+mj-ea"/>
                <a:cs typeface="Simplon Oi Headline"/>
              </a:defRPr>
            </a:lvl1pPr>
          </a:lstStyle>
          <a:p>
            <a:pPr algn="ctr"/>
            <a:r>
              <a:rPr lang="pt-BR" sz="6600" dirty="0">
                <a:latin typeface="Graphik" panose="020B0503030202060203" pitchFamily="34" charset="0"/>
              </a:rPr>
              <a:t>DÚVIDAS?</a:t>
            </a:r>
          </a:p>
        </p:txBody>
      </p:sp>
    </p:spTree>
    <p:extLst>
      <p:ext uri="{BB962C8B-B14F-4D97-AF65-F5344CB8AC3E}">
        <p14:creationId xmlns:p14="http://schemas.microsoft.com/office/powerpoint/2010/main" val="5234145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6F04E2-0B4E-4480-83D8-F931D32C07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6F04E2-0B4E-4480-83D8-F931D32C07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373E97F-A499-4FBB-BC88-9D3E0BD081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09585">
              <a:defRPr/>
            </a:pPr>
            <a:endParaRPr lang="pt-BR" sz="3733">
              <a:solidFill>
                <a:srgbClr val="000000"/>
              </a:solidFill>
              <a:latin typeface="Simplon Oi Headline" pitchFamily="2" charset="0"/>
              <a:ea typeface="ＭＳ Ｐゴシック" panose="020B0600070205080204" pitchFamily="34" charset="-128"/>
              <a:cs typeface="Simplon BP Regular"/>
              <a:sym typeface="Simplon Oi Headline" pitchFamily="2" charset="0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5A37B194-58A3-B347-A9B0-2E6DE8CC15E8}"/>
              </a:ext>
            </a:extLst>
          </p:cNvPr>
          <p:cNvSpPr txBox="1"/>
          <p:nvPr/>
        </p:nvSpPr>
        <p:spPr>
          <a:xfrm>
            <a:off x="3803374" y="2509077"/>
            <a:ext cx="4585252" cy="129871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400">
                <a:latin typeface="Simplon Oi Headline"/>
                <a:ea typeface="+mj-ea"/>
                <a:cs typeface="Simplon Oi Headline"/>
              </a:defRPr>
            </a:lvl1pPr>
          </a:lstStyle>
          <a:p>
            <a:pPr algn="ctr"/>
            <a:endParaRPr lang="pt-BR" sz="6600" dirty="0">
              <a:latin typeface="Graphik" panose="020B0503030202060203" pitchFamily="34" charset="0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1E83C25-553A-888F-290A-81804944A819}"/>
              </a:ext>
            </a:extLst>
          </p:cNvPr>
          <p:cNvSpPr txBox="1">
            <a:spLocks/>
          </p:cNvSpPr>
          <p:nvPr/>
        </p:nvSpPr>
        <p:spPr bwMode="auto">
          <a:xfrm>
            <a:off x="363029" y="198211"/>
            <a:ext cx="11533223" cy="10701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EC501B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chemeClr val="tx1"/>
                </a:solidFill>
              </a:rPr>
              <a:t>documentação e Referências</a:t>
            </a:r>
            <a:endParaRPr lang="pt-BR" sz="2800" b="1" cap="none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C1B5276-49D5-AD65-FDD7-23E792FB6318}"/>
              </a:ext>
            </a:extLst>
          </p:cNvPr>
          <p:cNvSpPr txBox="1"/>
          <p:nvPr/>
        </p:nvSpPr>
        <p:spPr>
          <a:xfrm>
            <a:off x="363029" y="2509077"/>
            <a:ext cx="1117481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hlinkClick r:id="rId6"/>
              </a:rPr>
              <a:t>https://www.rfc-editor.org/rfc/rfc7519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hlinkClick r:id="rId7"/>
              </a:rPr>
              <a:t>https://developer.salesforce.com/docs/atlas.en-us.sfdx_dev.meta/sfdx_dev/sfdx_dev_auth_key_and_cert.htm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hlinkClick r:id="rId8"/>
              </a:rPr>
              <a:t>https://developer.salesforce.com/docs/atlas.en-us.sfdx_dev.meta/sfdx_dev/sfdx_dev_auth_jwt_flow.htm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hlinkClick r:id="rId9"/>
              </a:rPr>
              <a:t>https://help.salesforce.com/s/articleView?id=sf.remoteaccess_oauth_jwt_flow.htm&amp;type=5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hlinkClick r:id="rId10"/>
              </a:rPr>
              <a:t>https://help.salesforce.com/s/articleView?id=sf.remoteaccess_oauth_web_server_flow.htm&amp;type=5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hlinkClick r:id="rId11"/>
              </a:rPr>
              <a:t>https://www.youtube.com/watch?v=OPOLjnxeuF4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540143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978AE47-D33B-4850-B045-B82D684862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978AE47-D33B-4850-B045-B82D68486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6453196-3970-4D51-BE73-FD5EE41236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3200" b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D06B6AED-4E4B-478C-AB50-108B90CF02D5}"/>
              </a:ext>
            </a:extLst>
          </p:cNvPr>
          <p:cNvSpPr txBox="1">
            <a:spLocks/>
          </p:cNvSpPr>
          <p:nvPr/>
        </p:nvSpPr>
        <p:spPr bwMode="auto">
          <a:xfrm>
            <a:off x="288573" y="3022206"/>
            <a:ext cx="4699886" cy="813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EC501B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sz="4400" b="1" cap="none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raphik" panose="020B0503030202060203" pitchFamily="34" charset="0"/>
                <a:ea typeface="+mn-ea"/>
                <a:cs typeface="+mn-cs"/>
              </a:rPr>
              <a:t>OBRIGADO</a:t>
            </a:r>
          </a:p>
        </p:txBody>
      </p:sp>
    </p:spTree>
    <p:extLst>
      <p:ext uri="{BB962C8B-B14F-4D97-AF65-F5344CB8AC3E}">
        <p14:creationId xmlns:p14="http://schemas.microsoft.com/office/powerpoint/2010/main" val="2357513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978AE47-D33B-4850-B045-B82D684862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978AE47-D33B-4850-B045-B82D68486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6453196-3970-4D51-BE73-FD5EE41236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3200" b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D06B6AED-4E4B-478C-AB50-108B90CF02D5}"/>
              </a:ext>
            </a:extLst>
          </p:cNvPr>
          <p:cNvSpPr txBox="1">
            <a:spLocks/>
          </p:cNvSpPr>
          <p:nvPr/>
        </p:nvSpPr>
        <p:spPr bwMode="auto">
          <a:xfrm>
            <a:off x="288573" y="3022206"/>
            <a:ext cx="3957502" cy="813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EC501B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sz="4400" b="1" cap="none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raphik" panose="020B0503030202060203" pitchFamily="34" charset="0"/>
                <a:ea typeface="+mn-ea"/>
                <a:cs typeface="+mn-cs"/>
              </a:rPr>
              <a:t>AGENDA</a:t>
            </a:r>
            <a:endParaRPr lang="pt-BR" sz="3600" b="1" cap="none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Graphik" panose="020B0503030202060203" pitchFamily="34" charset="0"/>
              <a:ea typeface="+mn-ea"/>
              <a:cs typeface="+mn-cs"/>
            </a:endParaRPr>
          </a:p>
        </p:txBody>
      </p:sp>
      <p:graphicFrame>
        <p:nvGraphicFramePr>
          <p:cNvPr id="10" name="Table 4">
            <a:extLst>
              <a:ext uri="{FF2B5EF4-FFF2-40B4-BE49-F238E27FC236}">
                <a16:creationId xmlns:a16="http://schemas.microsoft.com/office/drawing/2014/main" id="{23DC5A68-BA7A-457F-BC05-F568D64DFC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9951016"/>
              </p:ext>
            </p:extLst>
          </p:nvPr>
        </p:nvGraphicFramePr>
        <p:xfrm>
          <a:off x="5556827" y="1925376"/>
          <a:ext cx="6020100" cy="3173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442565523"/>
                    </a:ext>
                  </a:extLst>
                </a:gridCol>
                <a:gridCol w="5372100">
                  <a:extLst>
                    <a:ext uri="{9D8B030D-6E8A-4147-A177-3AD203B41FA5}">
                      <a16:colId xmlns:a16="http://schemas.microsoft.com/office/drawing/2014/main" val="1715330689"/>
                    </a:ext>
                  </a:extLst>
                </a:gridCol>
              </a:tblGrid>
              <a:tr h="634768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621867"/>
                        </a:gs>
                        <a:gs pos="60000">
                          <a:srgbClr val="360465"/>
                        </a:gs>
                        <a:gs pos="100000">
                          <a:schemeClr val="accent6">
                            <a:lumMod val="75000"/>
                          </a:schemeClr>
                        </a:gs>
                        <a:gs pos="97000">
                          <a:srgbClr val="290A5A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3147"/>
                        </a:lnSpc>
                        <a:spcBef>
                          <a:spcPts val="2400"/>
                        </a:spcBef>
                        <a:buFont typeface="+mj-lt"/>
                        <a:buNone/>
                        <a:defRPr/>
                      </a:pPr>
                      <a:r>
                        <a:rPr lang="pt-BR" sz="2000" dirty="0"/>
                        <a:t>PADRÕES DE INTEGRAÇÃ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6669164"/>
                  </a:ext>
                </a:extLst>
              </a:tr>
              <a:tr h="634768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621867"/>
                        </a:gs>
                        <a:gs pos="60000">
                          <a:srgbClr val="360465"/>
                        </a:gs>
                        <a:gs pos="100000">
                          <a:schemeClr val="accent6">
                            <a:lumMod val="75000"/>
                          </a:schemeClr>
                        </a:gs>
                        <a:gs pos="97000">
                          <a:srgbClr val="290A5A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3147"/>
                        </a:lnSpc>
                        <a:spcBef>
                          <a:spcPts val="2400"/>
                        </a:spcBef>
                        <a:buFont typeface="+mj-lt"/>
                        <a:buNone/>
                        <a:defRPr/>
                      </a:pPr>
                      <a:r>
                        <a:rPr lang="pt-BR" sz="2000" dirty="0"/>
                        <a:t>DIAGRAMA DE SEQUENCIA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4189973"/>
                  </a:ext>
                </a:extLst>
              </a:tr>
              <a:tr h="634768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621867"/>
                        </a:gs>
                        <a:gs pos="60000">
                          <a:srgbClr val="360465"/>
                        </a:gs>
                        <a:gs pos="100000">
                          <a:schemeClr val="accent6">
                            <a:lumMod val="75000"/>
                          </a:schemeClr>
                        </a:gs>
                        <a:gs pos="97000">
                          <a:srgbClr val="290A5A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3147"/>
                        </a:lnSpc>
                        <a:spcBef>
                          <a:spcPts val="2400"/>
                        </a:spcBef>
                        <a:buFont typeface="+mj-lt"/>
                        <a:buNone/>
                        <a:defRPr/>
                      </a:pPr>
                      <a:r>
                        <a:rPr lang="pt-BR" sz="2000" dirty="0"/>
                        <a:t>PADRÃO JWT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4839205"/>
                  </a:ext>
                </a:extLst>
              </a:tr>
              <a:tr h="634768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621867"/>
                        </a:gs>
                        <a:gs pos="60000">
                          <a:srgbClr val="360465"/>
                        </a:gs>
                        <a:gs pos="100000">
                          <a:schemeClr val="accent6">
                            <a:lumMod val="75000"/>
                          </a:schemeClr>
                        </a:gs>
                        <a:gs pos="97000">
                          <a:srgbClr val="290A5A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3147"/>
                        </a:lnSpc>
                        <a:spcBef>
                          <a:spcPts val="2400"/>
                        </a:spcBef>
                        <a:buFont typeface="+mj-lt"/>
                        <a:buNone/>
                        <a:defRPr/>
                      </a:pPr>
                      <a:r>
                        <a:rPr lang="pt-BR" sz="2000" dirty="0"/>
                        <a:t>DEM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1770323"/>
                  </a:ext>
                </a:extLst>
              </a:tr>
              <a:tr h="634768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621867"/>
                        </a:gs>
                        <a:gs pos="60000">
                          <a:srgbClr val="360465"/>
                        </a:gs>
                        <a:gs pos="100000">
                          <a:schemeClr val="accent6">
                            <a:lumMod val="75000"/>
                          </a:schemeClr>
                        </a:gs>
                        <a:gs pos="97000">
                          <a:srgbClr val="290A5A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3147"/>
                        </a:lnSpc>
                        <a:spcBef>
                          <a:spcPts val="2400"/>
                        </a:spcBef>
                        <a:buFont typeface="+mj-lt"/>
                        <a:buNone/>
                        <a:defRPr/>
                      </a:pPr>
                      <a:r>
                        <a:rPr lang="pt-BR" sz="2000" dirty="0"/>
                        <a:t>DOCUMENTAÇÃO E REFERÊNCIA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421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16581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E11983F-2792-498B-B149-F12410DBE4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E11983F-2792-498B-B149-F12410DBE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Title 2">
            <a:extLst>
              <a:ext uri="{FF2B5EF4-FFF2-40B4-BE49-F238E27FC236}">
                <a16:creationId xmlns:a16="http://schemas.microsoft.com/office/drawing/2014/main" id="{1DD62240-6972-4CD4-B0B4-23F3BCD4A3C4}"/>
              </a:ext>
            </a:extLst>
          </p:cNvPr>
          <p:cNvSpPr txBox="1">
            <a:spLocks/>
          </p:cNvSpPr>
          <p:nvPr/>
        </p:nvSpPr>
        <p:spPr bwMode="auto">
          <a:xfrm>
            <a:off x="363029" y="198211"/>
            <a:ext cx="11533223" cy="1070128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pt-BR"/>
            </a:defPPr>
            <a:lvl1pPr indent="0" defTabSz="914377">
              <a:lnSpc>
                <a:spcPct val="85000"/>
              </a:lnSpc>
              <a:spcBef>
                <a:spcPct val="0"/>
              </a:spcBef>
              <a:buNone/>
              <a:defRPr sz="2800" b="0" cap="all" baseline="0"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dirty="0"/>
              <a:t>Padrões  de Integração </a:t>
            </a:r>
            <a:r>
              <a:rPr lang="pt-BR" dirty="0" err="1"/>
              <a:t>salesforce</a:t>
            </a:r>
            <a:endParaRPr lang="pt-BR" dirty="0"/>
          </a:p>
          <a:p>
            <a:endParaRPr lang="pt-BR" dirty="0"/>
          </a:p>
        </p:txBody>
      </p:sp>
      <p:sp>
        <p:nvSpPr>
          <p:cNvPr id="88" name="Title 2">
            <a:extLst>
              <a:ext uri="{FF2B5EF4-FFF2-40B4-BE49-F238E27FC236}">
                <a16:creationId xmlns:a16="http://schemas.microsoft.com/office/drawing/2014/main" id="{B2735E45-A172-A653-C519-79B562C59026}"/>
              </a:ext>
            </a:extLst>
          </p:cNvPr>
          <p:cNvSpPr txBox="1">
            <a:spLocks/>
          </p:cNvSpPr>
          <p:nvPr/>
        </p:nvSpPr>
        <p:spPr bwMode="auto">
          <a:xfrm>
            <a:off x="1006134" y="2269518"/>
            <a:ext cx="3226684" cy="344850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pt-BR"/>
            </a:defPPr>
            <a:lvl1pPr indent="0" defTabSz="914377">
              <a:lnSpc>
                <a:spcPct val="85000"/>
              </a:lnSpc>
              <a:spcBef>
                <a:spcPct val="0"/>
              </a:spcBef>
              <a:buNone/>
              <a:defRPr sz="2800" b="0" cap="all" baseline="0"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dirty="0"/>
              <a:t>SAM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8D4F55-C323-6142-CFFA-18AABFCD2FBB}"/>
              </a:ext>
            </a:extLst>
          </p:cNvPr>
          <p:cNvSpPr/>
          <p:nvPr/>
        </p:nvSpPr>
        <p:spPr>
          <a:xfrm>
            <a:off x="0" y="1369743"/>
            <a:ext cx="12192000" cy="642257"/>
          </a:xfrm>
          <a:prstGeom prst="rect">
            <a:avLst/>
          </a:prstGeom>
          <a:noFill/>
          <a:ln w="28575">
            <a:solidFill>
              <a:srgbClr val="00B0F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>
                <a:solidFill>
                  <a:schemeClr val="tx1"/>
                </a:solidFill>
              </a:rPr>
              <a:t>Autenticação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B46D0D-4D28-C4A0-7FFC-86080DE833DF}"/>
              </a:ext>
            </a:extLst>
          </p:cNvPr>
          <p:cNvCxnSpPr>
            <a:cxnSpLocks/>
          </p:cNvCxnSpPr>
          <p:nvPr/>
        </p:nvCxnSpPr>
        <p:spPr>
          <a:xfrm>
            <a:off x="3516086" y="2209801"/>
            <a:ext cx="0" cy="417984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128BE3F5-754B-C5CB-CAE4-754850B846BB}"/>
              </a:ext>
            </a:extLst>
          </p:cNvPr>
          <p:cNvCxnSpPr>
            <a:cxnSpLocks/>
          </p:cNvCxnSpPr>
          <p:nvPr/>
        </p:nvCxnSpPr>
        <p:spPr>
          <a:xfrm>
            <a:off x="8131629" y="2237015"/>
            <a:ext cx="0" cy="4152634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itle 2">
            <a:extLst>
              <a:ext uri="{FF2B5EF4-FFF2-40B4-BE49-F238E27FC236}">
                <a16:creationId xmlns:a16="http://schemas.microsoft.com/office/drawing/2014/main" id="{7B51945C-BC75-A492-CD4C-B1AF8D2B8447}"/>
              </a:ext>
            </a:extLst>
          </p:cNvPr>
          <p:cNvSpPr txBox="1">
            <a:spLocks/>
          </p:cNvSpPr>
          <p:nvPr/>
        </p:nvSpPr>
        <p:spPr bwMode="auto">
          <a:xfrm>
            <a:off x="8826058" y="2067755"/>
            <a:ext cx="2949628" cy="920151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pt-BR"/>
            </a:defPPr>
            <a:lvl1pPr indent="0" defTabSz="914377">
              <a:lnSpc>
                <a:spcPct val="85000"/>
              </a:lnSpc>
              <a:spcBef>
                <a:spcPct val="0"/>
              </a:spcBef>
              <a:buNone/>
              <a:defRPr sz="2800" b="0" cap="all" baseline="0"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pPr lvl="1"/>
            <a:endParaRPr lang="pt-BR" dirty="0">
              <a:solidFill>
                <a:srgbClr val="FF0000"/>
              </a:solidFill>
            </a:endParaRPr>
          </a:p>
          <a:p>
            <a:r>
              <a:rPr lang="pt-BR" dirty="0" err="1"/>
              <a:t>Oauth</a:t>
            </a:r>
            <a:r>
              <a:rPr lang="pt-BR" dirty="0"/>
              <a:t> (</a:t>
            </a:r>
            <a:r>
              <a:rPr lang="pt-BR" dirty="0" err="1"/>
              <a:t>Jwt</a:t>
            </a:r>
            <a:r>
              <a:rPr lang="pt-BR" dirty="0"/>
              <a:t>)</a:t>
            </a:r>
          </a:p>
          <a:p>
            <a:pPr lvl="1"/>
            <a:endParaRPr lang="pt-BR" dirty="0">
              <a:solidFill>
                <a:srgbClr val="FF0000"/>
              </a:solidFill>
            </a:endParaRPr>
          </a:p>
          <a:p>
            <a:pPr lvl="1"/>
            <a:endParaRPr lang="pt-BR" dirty="0">
              <a:solidFill>
                <a:srgbClr val="FF0000"/>
              </a:solidFill>
            </a:endParaRPr>
          </a:p>
          <a:p>
            <a:endParaRPr lang="pt-BR" dirty="0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23F3D9F-E6CA-DC0F-2BD3-42ECABB91F29}"/>
              </a:ext>
            </a:extLst>
          </p:cNvPr>
          <p:cNvSpPr txBox="1"/>
          <p:nvPr/>
        </p:nvSpPr>
        <p:spPr>
          <a:xfrm>
            <a:off x="-147474" y="3116607"/>
            <a:ext cx="322667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/>
            <a:r>
              <a:rPr lang="pt-BR" dirty="0">
                <a:solidFill>
                  <a:srgbClr val="FF0000"/>
                </a:solidFill>
              </a:rPr>
              <a:t>Requer Provedor de Identidade, com necessidade de autenticação de usuário pelo PI.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112" name="Title 2">
            <a:extLst>
              <a:ext uri="{FF2B5EF4-FFF2-40B4-BE49-F238E27FC236}">
                <a16:creationId xmlns:a16="http://schemas.microsoft.com/office/drawing/2014/main" id="{74C7BA0E-B039-029A-E60D-D9170A083F49}"/>
              </a:ext>
            </a:extLst>
          </p:cNvPr>
          <p:cNvSpPr txBox="1">
            <a:spLocks/>
          </p:cNvSpPr>
          <p:nvPr/>
        </p:nvSpPr>
        <p:spPr bwMode="auto">
          <a:xfrm>
            <a:off x="4060372" y="2329235"/>
            <a:ext cx="12159343" cy="344850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pt-BR"/>
            </a:defPPr>
            <a:lvl1pPr indent="0" defTabSz="914377">
              <a:lnSpc>
                <a:spcPct val="85000"/>
              </a:lnSpc>
              <a:spcBef>
                <a:spcPct val="0"/>
              </a:spcBef>
              <a:buNone/>
              <a:defRPr sz="2800" b="0" cap="all" baseline="0"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dirty="0" err="1"/>
              <a:t>Oauth</a:t>
            </a:r>
            <a:r>
              <a:rPr lang="pt-BR" dirty="0"/>
              <a:t> (padrão)</a:t>
            </a:r>
            <a:endParaRPr lang="pt-BR" dirty="0">
              <a:solidFill>
                <a:srgbClr val="FF0000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pt-BR" dirty="0">
              <a:solidFill>
                <a:srgbClr val="FF0000"/>
              </a:solidFill>
            </a:endParaRPr>
          </a:p>
          <a:p>
            <a:endParaRPr lang="pt-BR" dirty="0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579F79E2-ABD8-4D12-4867-1B0F202FFD37}"/>
              </a:ext>
            </a:extLst>
          </p:cNvPr>
          <p:cNvSpPr txBox="1"/>
          <p:nvPr/>
        </p:nvSpPr>
        <p:spPr>
          <a:xfrm>
            <a:off x="3682027" y="3127756"/>
            <a:ext cx="42214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dirty="0">
                <a:solidFill>
                  <a:srgbClr val="FF0000"/>
                </a:solidFill>
              </a:rPr>
              <a:t>Requer obrigatoriamente Usuário e Senha para autenticação.</a:t>
            </a:r>
            <a:endParaRPr lang="pt-BR" dirty="0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1B9D5E62-C8B3-C6B8-5175-36D2DE5AF007}"/>
              </a:ext>
            </a:extLst>
          </p:cNvPr>
          <p:cNvSpPr txBox="1"/>
          <p:nvPr/>
        </p:nvSpPr>
        <p:spPr>
          <a:xfrm>
            <a:off x="7959184" y="3127756"/>
            <a:ext cx="395629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/>
            <a:r>
              <a:rPr lang="pt-BR" dirty="0">
                <a:solidFill>
                  <a:srgbClr val="5F00BF"/>
                </a:solidFill>
              </a:rPr>
              <a:t>Requer certificado com chave privada. Autenticação com JSON contendo </a:t>
            </a:r>
            <a:r>
              <a:rPr lang="pt-BR" dirty="0" err="1">
                <a:solidFill>
                  <a:srgbClr val="5F00BF"/>
                </a:solidFill>
              </a:rPr>
              <a:t>payload</a:t>
            </a:r>
            <a:r>
              <a:rPr lang="pt-BR" dirty="0">
                <a:solidFill>
                  <a:srgbClr val="5F00BF"/>
                </a:solidFill>
              </a:rPr>
              <a:t>, certificado e chave criptografados. </a:t>
            </a:r>
          </a:p>
        </p:txBody>
      </p:sp>
    </p:spTree>
    <p:extLst>
      <p:ext uri="{BB962C8B-B14F-4D97-AF65-F5344CB8AC3E}">
        <p14:creationId xmlns:p14="http://schemas.microsoft.com/office/powerpoint/2010/main" val="14470668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E11983F-2792-498B-B149-F12410DBE4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E11983F-2792-498B-B149-F12410DBE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Title 2">
            <a:extLst>
              <a:ext uri="{FF2B5EF4-FFF2-40B4-BE49-F238E27FC236}">
                <a16:creationId xmlns:a16="http://schemas.microsoft.com/office/drawing/2014/main" id="{8458B9CA-B35D-F6F4-396F-54D74B8E0374}"/>
              </a:ext>
            </a:extLst>
          </p:cNvPr>
          <p:cNvSpPr txBox="1">
            <a:spLocks/>
          </p:cNvSpPr>
          <p:nvPr/>
        </p:nvSpPr>
        <p:spPr bwMode="auto">
          <a:xfrm>
            <a:off x="363029" y="198211"/>
            <a:ext cx="11533223" cy="1070128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pt-BR"/>
            </a:defPPr>
            <a:lvl1pPr indent="0" defTabSz="914377">
              <a:lnSpc>
                <a:spcPct val="85000"/>
              </a:lnSpc>
              <a:spcBef>
                <a:spcPct val="0"/>
              </a:spcBef>
              <a:buNone/>
              <a:defRPr sz="2800" b="0" cap="all" baseline="0"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dirty="0"/>
              <a:t>Diagrama sequencia</a:t>
            </a:r>
          </a:p>
          <a:p>
            <a:endParaRPr lang="pt-BR" dirty="0"/>
          </a:p>
        </p:txBody>
      </p:sp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C19860D8-40D1-007E-42FD-02AF1150EE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3691" y="1372960"/>
            <a:ext cx="8077881" cy="4567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5501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A46283-03E5-4E23-8A77-D3B7CF380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A46283-03E5-4E23-8A77-D3B7CF380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CE88707-6C53-449F-B5D8-35AB96C36C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40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1" name="Title 2">
            <a:extLst>
              <a:ext uri="{FF2B5EF4-FFF2-40B4-BE49-F238E27FC236}">
                <a16:creationId xmlns:a16="http://schemas.microsoft.com/office/drawing/2014/main" id="{84AE0E1E-00B7-4FF5-B5DE-B24DE4776742}"/>
              </a:ext>
            </a:extLst>
          </p:cNvPr>
          <p:cNvSpPr txBox="1">
            <a:spLocks/>
          </p:cNvSpPr>
          <p:nvPr/>
        </p:nvSpPr>
        <p:spPr bwMode="auto">
          <a:xfrm>
            <a:off x="363029" y="198211"/>
            <a:ext cx="11533223" cy="10701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EC501B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chemeClr val="tx1"/>
                </a:solidFill>
              </a:rPr>
              <a:t>Padrão </a:t>
            </a:r>
            <a:r>
              <a:rPr lang="pt-BR" sz="2800" dirty="0" err="1">
                <a:solidFill>
                  <a:schemeClr val="tx1"/>
                </a:solidFill>
              </a:rPr>
              <a:t>jwt</a:t>
            </a:r>
            <a:r>
              <a:rPr lang="pt-BR" sz="2800" dirty="0">
                <a:solidFill>
                  <a:schemeClr val="tx1"/>
                </a:solidFill>
              </a:rPr>
              <a:t> (</a:t>
            </a:r>
            <a:r>
              <a:rPr lang="pt-BR" sz="2800" dirty="0" err="1">
                <a:solidFill>
                  <a:schemeClr val="tx1"/>
                </a:solidFill>
              </a:rPr>
              <a:t>json</a:t>
            </a:r>
            <a:r>
              <a:rPr lang="pt-BR" sz="2800" dirty="0">
                <a:solidFill>
                  <a:schemeClr val="tx1"/>
                </a:solidFill>
              </a:rPr>
              <a:t> web token)</a:t>
            </a:r>
            <a:endParaRPr lang="pt-BR" sz="2800" b="1" cap="none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F1A1BF-AE21-4576-84DD-919BFDAE3D6A}"/>
              </a:ext>
            </a:extLst>
          </p:cNvPr>
          <p:cNvSpPr/>
          <p:nvPr/>
        </p:nvSpPr>
        <p:spPr>
          <a:xfrm>
            <a:off x="11471782" y="103236"/>
            <a:ext cx="714375" cy="455502"/>
          </a:xfrm>
          <a:prstGeom prst="rect">
            <a:avLst/>
          </a:prstGeom>
          <a:solidFill>
            <a:srgbClr val="FFFFFF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5C69D41-A995-64EB-2A53-5FDF2392B3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5836178"/>
              </p:ext>
            </p:extLst>
          </p:nvPr>
        </p:nvGraphicFramePr>
        <p:xfrm>
          <a:off x="475343" y="893837"/>
          <a:ext cx="11139714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8957962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A46283-03E5-4E23-8A77-D3B7CF380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A46283-03E5-4E23-8A77-D3B7CF380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CE88707-6C53-449F-B5D8-35AB96C36C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40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1" name="Title 2">
            <a:extLst>
              <a:ext uri="{FF2B5EF4-FFF2-40B4-BE49-F238E27FC236}">
                <a16:creationId xmlns:a16="http://schemas.microsoft.com/office/drawing/2014/main" id="{84AE0E1E-00B7-4FF5-B5DE-B24DE4776742}"/>
              </a:ext>
            </a:extLst>
          </p:cNvPr>
          <p:cNvSpPr txBox="1">
            <a:spLocks/>
          </p:cNvSpPr>
          <p:nvPr/>
        </p:nvSpPr>
        <p:spPr bwMode="auto">
          <a:xfrm>
            <a:off x="363029" y="198211"/>
            <a:ext cx="11533223" cy="10701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EC501B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chemeClr val="tx1"/>
                </a:solidFill>
              </a:rPr>
              <a:t>Padrão </a:t>
            </a:r>
            <a:r>
              <a:rPr lang="pt-BR" sz="2800" dirty="0" err="1">
                <a:solidFill>
                  <a:schemeClr val="tx1"/>
                </a:solidFill>
              </a:rPr>
              <a:t>jwt</a:t>
            </a:r>
            <a:r>
              <a:rPr lang="pt-BR" sz="2800" dirty="0">
                <a:solidFill>
                  <a:schemeClr val="tx1"/>
                </a:solidFill>
              </a:rPr>
              <a:t> (</a:t>
            </a:r>
            <a:r>
              <a:rPr lang="pt-BR" sz="2800" dirty="0" err="1">
                <a:solidFill>
                  <a:schemeClr val="tx1"/>
                </a:solidFill>
              </a:rPr>
              <a:t>json</a:t>
            </a:r>
            <a:r>
              <a:rPr lang="pt-BR" sz="2800" dirty="0">
                <a:solidFill>
                  <a:schemeClr val="tx1"/>
                </a:solidFill>
              </a:rPr>
              <a:t> web token)</a:t>
            </a:r>
            <a:endParaRPr lang="pt-BR" sz="2800" b="1" cap="none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F1A1BF-AE21-4576-84DD-919BFDAE3D6A}"/>
              </a:ext>
            </a:extLst>
          </p:cNvPr>
          <p:cNvSpPr/>
          <p:nvPr/>
        </p:nvSpPr>
        <p:spPr>
          <a:xfrm>
            <a:off x="11471782" y="103236"/>
            <a:ext cx="714375" cy="455502"/>
          </a:xfrm>
          <a:prstGeom prst="rect">
            <a:avLst/>
          </a:prstGeom>
          <a:solidFill>
            <a:srgbClr val="FFFFFF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5C69D41-A995-64EB-2A53-5FDF2392B3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3034841"/>
              </p:ext>
            </p:extLst>
          </p:nvPr>
        </p:nvGraphicFramePr>
        <p:xfrm>
          <a:off x="475343" y="893837"/>
          <a:ext cx="11139714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5906353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A46283-03E5-4E23-8A77-D3B7CF380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A46283-03E5-4E23-8A77-D3B7CF380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CE88707-6C53-449F-B5D8-35AB96C36C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40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1" name="Title 2">
            <a:extLst>
              <a:ext uri="{FF2B5EF4-FFF2-40B4-BE49-F238E27FC236}">
                <a16:creationId xmlns:a16="http://schemas.microsoft.com/office/drawing/2014/main" id="{84AE0E1E-00B7-4FF5-B5DE-B24DE4776742}"/>
              </a:ext>
            </a:extLst>
          </p:cNvPr>
          <p:cNvSpPr txBox="1">
            <a:spLocks/>
          </p:cNvSpPr>
          <p:nvPr/>
        </p:nvSpPr>
        <p:spPr bwMode="auto">
          <a:xfrm>
            <a:off x="363029" y="198211"/>
            <a:ext cx="11533223" cy="10701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EC501B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chemeClr val="tx1"/>
                </a:solidFill>
              </a:rPr>
              <a:t>Padrão </a:t>
            </a:r>
            <a:r>
              <a:rPr lang="pt-BR" sz="2800" dirty="0" err="1">
                <a:solidFill>
                  <a:schemeClr val="tx1"/>
                </a:solidFill>
              </a:rPr>
              <a:t>jwt</a:t>
            </a:r>
            <a:r>
              <a:rPr lang="pt-BR" sz="2800" dirty="0">
                <a:solidFill>
                  <a:schemeClr val="tx1"/>
                </a:solidFill>
              </a:rPr>
              <a:t> (</a:t>
            </a:r>
            <a:r>
              <a:rPr lang="pt-BR" sz="2800" dirty="0" err="1">
                <a:solidFill>
                  <a:schemeClr val="tx1"/>
                </a:solidFill>
              </a:rPr>
              <a:t>json</a:t>
            </a:r>
            <a:r>
              <a:rPr lang="pt-BR" sz="2800" dirty="0">
                <a:solidFill>
                  <a:schemeClr val="tx1"/>
                </a:solidFill>
              </a:rPr>
              <a:t> web token)</a:t>
            </a:r>
            <a:endParaRPr lang="pt-BR" sz="2800" b="1" cap="none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F1A1BF-AE21-4576-84DD-919BFDAE3D6A}"/>
              </a:ext>
            </a:extLst>
          </p:cNvPr>
          <p:cNvSpPr/>
          <p:nvPr/>
        </p:nvSpPr>
        <p:spPr>
          <a:xfrm>
            <a:off x="11471782" y="103236"/>
            <a:ext cx="714375" cy="455502"/>
          </a:xfrm>
          <a:prstGeom prst="rect">
            <a:avLst/>
          </a:prstGeom>
          <a:solidFill>
            <a:srgbClr val="FFFFFF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5C69D41-A995-64EB-2A53-5FDF2392B3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870832"/>
              </p:ext>
            </p:extLst>
          </p:nvPr>
        </p:nvGraphicFramePr>
        <p:xfrm>
          <a:off x="475343" y="893837"/>
          <a:ext cx="11139714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135634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A46283-03E5-4E23-8A77-D3B7CF380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A46283-03E5-4E23-8A77-D3B7CF380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CE88707-6C53-449F-B5D8-35AB96C36C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40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1" name="Title 2">
            <a:extLst>
              <a:ext uri="{FF2B5EF4-FFF2-40B4-BE49-F238E27FC236}">
                <a16:creationId xmlns:a16="http://schemas.microsoft.com/office/drawing/2014/main" id="{84AE0E1E-00B7-4FF5-B5DE-B24DE4776742}"/>
              </a:ext>
            </a:extLst>
          </p:cNvPr>
          <p:cNvSpPr txBox="1">
            <a:spLocks/>
          </p:cNvSpPr>
          <p:nvPr/>
        </p:nvSpPr>
        <p:spPr bwMode="auto">
          <a:xfrm>
            <a:off x="363029" y="198211"/>
            <a:ext cx="11533223" cy="10701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EC501B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chemeClr val="tx1"/>
                </a:solidFill>
              </a:rPr>
              <a:t>Padrão </a:t>
            </a:r>
            <a:r>
              <a:rPr lang="pt-BR" sz="2800" dirty="0" err="1">
                <a:solidFill>
                  <a:schemeClr val="tx1"/>
                </a:solidFill>
              </a:rPr>
              <a:t>jwt</a:t>
            </a:r>
            <a:r>
              <a:rPr lang="pt-BR" sz="2800" dirty="0">
                <a:solidFill>
                  <a:schemeClr val="tx1"/>
                </a:solidFill>
              </a:rPr>
              <a:t> (</a:t>
            </a:r>
            <a:r>
              <a:rPr lang="pt-BR" sz="2800" dirty="0" err="1">
                <a:solidFill>
                  <a:schemeClr val="tx1"/>
                </a:solidFill>
              </a:rPr>
              <a:t>json</a:t>
            </a:r>
            <a:r>
              <a:rPr lang="pt-BR" sz="2800" dirty="0">
                <a:solidFill>
                  <a:schemeClr val="tx1"/>
                </a:solidFill>
              </a:rPr>
              <a:t> web token)</a:t>
            </a:r>
            <a:endParaRPr lang="pt-BR" sz="2800" b="1" cap="none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F1A1BF-AE21-4576-84DD-919BFDAE3D6A}"/>
              </a:ext>
            </a:extLst>
          </p:cNvPr>
          <p:cNvSpPr/>
          <p:nvPr/>
        </p:nvSpPr>
        <p:spPr>
          <a:xfrm>
            <a:off x="11471782" y="103236"/>
            <a:ext cx="714375" cy="455502"/>
          </a:xfrm>
          <a:prstGeom prst="rect">
            <a:avLst/>
          </a:prstGeom>
          <a:solidFill>
            <a:srgbClr val="FFFFFF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5C69D41-A995-64EB-2A53-5FDF2392B3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2075525"/>
              </p:ext>
            </p:extLst>
          </p:nvPr>
        </p:nvGraphicFramePr>
        <p:xfrm>
          <a:off x="475343" y="893837"/>
          <a:ext cx="11139714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5218098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A46283-03E5-4E23-8A77-D3B7CF380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A46283-03E5-4E23-8A77-D3B7CF380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CE88707-6C53-449F-B5D8-35AB96C36C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240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1" name="Title 2">
            <a:extLst>
              <a:ext uri="{FF2B5EF4-FFF2-40B4-BE49-F238E27FC236}">
                <a16:creationId xmlns:a16="http://schemas.microsoft.com/office/drawing/2014/main" id="{84AE0E1E-00B7-4FF5-B5DE-B24DE4776742}"/>
              </a:ext>
            </a:extLst>
          </p:cNvPr>
          <p:cNvSpPr txBox="1">
            <a:spLocks/>
          </p:cNvSpPr>
          <p:nvPr/>
        </p:nvSpPr>
        <p:spPr bwMode="auto">
          <a:xfrm>
            <a:off x="363029" y="198211"/>
            <a:ext cx="11533223" cy="10701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rgbClr val="EC501B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chemeClr val="tx1"/>
                </a:solidFill>
              </a:rPr>
              <a:t>Padrão </a:t>
            </a:r>
            <a:r>
              <a:rPr lang="pt-BR" sz="2800" dirty="0" err="1">
                <a:solidFill>
                  <a:schemeClr val="tx1"/>
                </a:solidFill>
              </a:rPr>
              <a:t>jwt</a:t>
            </a:r>
            <a:r>
              <a:rPr lang="pt-BR" sz="2800" dirty="0">
                <a:solidFill>
                  <a:schemeClr val="tx1"/>
                </a:solidFill>
              </a:rPr>
              <a:t> (</a:t>
            </a:r>
            <a:r>
              <a:rPr lang="pt-BR" sz="2800" dirty="0" err="1">
                <a:solidFill>
                  <a:schemeClr val="tx1"/>
                </a:solidFill>
              </a:rPr>
              <a:t>json</a:t>
            </a:r>
            <a:r>
              <a:rPr lang="pt-BR" sz="2800" dirty="0">
                <a:solidFill>
                  <a:schemeClr val="tx1"/>
                </a:solidFill>
              </a:rPr>
              <a:t> web token)</a:t>
            </a:r>
            <a:endParaRPr lang="pt-BR" sz="2800" b="1" cap="none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F1A1BF-AE21-4576-84DD-919BFDAE3D6A}"/>
              </a:ext>
            </a:extLst>
          </p:cNvPr>
          <p:cNvSpPr/>
          <p:nvPr/>
        </p:nvSpPr>
        <p:spPr>
          <a:xfrm>
            <a:off x="11471782" y="103236"/>
            <a:ext cx="714375" cy="455502"/>
          </a:xfrm>
          <a:prstGeom prst="rect">
            <a:avLst/>
          </a:prstGeom>
          <a:solidFill>
            <a:srgbClr val="FFFFFF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5C69D41-A995-64EB-2A53-5FDF2392B3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285264"/>
              </p:ext>
            </p:extLst>
          </p:nvPr>
        </p:nvGraphicFramePr>
        <p:xfrm>
          <a:off x="468203" y="652696"/>
          <a:ext cx="11139714" cy="7694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Left Brace 1">
            <a:extLst>
              <a:ext uri="{FF2B5EF4-FFF2-40B4-BE49-F238E27FC236}">
                <a16:creationId xmlns:a16="http://schemas.microsoft.com/office/drawing/2014/main" id="{18F07636-C152-EDAB-533C-D2D3B20AA408}"/>
              </a:ext>
            </a:extLst>
          </p:cNvPr>
          <p:cNvSpPr/>
          <p:nvPr/>
        </p:nvSpPr>
        <p:spPr>
          <a:xfrm>
            <a:off x="5776803" y="2991086"/>
            <a:ext cx="261257" cy="348343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0868AD-5E32-9622-41A0-A6481FD7663E}"/>
              </a:ext>
            </a:extLst>
          </p:cNvPr>
          <p:cNvSpPr txBox="1"/>
          <p:nvPr/>
        </p:nvSpPr>
        <p:spPr>
          <a:xfrm>
            <a:off x="4916841" y="2970097"/>
            <a:ext cx="849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Read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D9176E-7C5B-0D25-E486-3D9C390ABC58}"/>
              </a:ext>
            </a:extLst>
          </p:cNvPr>
          <p:cNvSpPr txBox="1"/>
          <p:nvPr/>
        </p:nvSpPr>
        <p:spPr>
          <a:xfrm>
            <a:off x="5940096" y="294832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Altogitmo</a:t>
            </a:r>
            <a:r>
              <a:rPr lang="pt-BR" dirty="0"/>
              <a:t> utilizad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111C29-D009-B42F-2363-2EA56F2C2B26}"/>
              </a:ext>
            </a:extLst>
          </p:cNvPr>
          <p:cNvSpPr txBox="1"/>
          <p:nvPr/>
        </p:nvSpPr>
        <p:spPr>
          <a:xfrm>
            <a:off x="4851530" y="4383789"/>
            <a:ext cx="916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Payload</a:t>
            </a:r>
            <a:endParaRPr lang="pt-BR" dirty="0"/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ED45393F-0DCE-A911-E7CD-84DAEB69C3B5}"/>
              </a:ext>
            </a:extLst>
          </p:cNvPr>
          <p:cNvSpPr/>
          <p:nvPr/>
        </p:nvSpPr>
        <p:spPr>
          <a:xfrm>
            <a:off x="5733265" y="3884383"/>
            <a:ext cx="261256" cy="144255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DB5B8D-A753-A313-9C09-E6DB4894FA80}"/>
              </a:ext>
            </a:extLst>
          </p:cNvPr>
          <p:cNvSpPr txBox="1"/>
          <p:nvPr/>
        </p:nvSpPr>
        <p:spPr>
          <a:xfrm>
            <a:off x="5929202" y="3849606"/>
            <a:ext cx="707572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ClientID</a:t>
            </a:r>
            <a:r>
              <a:rPr lang="pt-BR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Usuári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URL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Tempo (padrão UNIX, expresso em segundos a partir de 1970-01T0:0:00z) UTC) com intervalo até 3~5 minuto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3FD6430-1564-5B67-6059-830D3E720479}"/>
              </a:ext>
            </a:extLst>
          </p:cNvPr>
          <p:cNvSpPr txBox="1"/>
          <p:nvPr/>
        </p:nvSpPr>
        <p:spPr>
          <a:xfrm>
            <a:off x="4622927" y="5916566"/>
            <a:ext cx="11652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Assinatura</a:t>
            </a:r>
          </a:p>
        </p:txBody>
      </p:sp>
      <p:sp>
        <p:nvSpPr>
          <p:cNvPr id="16" name="Left Brace 15">
            <a:extLst>
              <a:ext uri="{FF2B5EF4-FFF2-40B4-BE49-F238E27FC236}">
                <a16:creationId xmlns:a16="http://schemas.microsoft.com/office/drawing/2014/main" id="{EB1A6EDD-202B-BF48-77E0-980C4EB58660}"/>
              </a:ext>
            </a:extLst>
          </p:cNvPr>
          <p:cNvSpPr/>
          <p:nvPr/>
        </p:nvSpPr>
        <p:spPr>
          <a:xfrm>
            <a:off x="5766412" y="5713186"/>
            <a:ext cx="228118" cy="828093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7BCF849-D1F2-460A-1DF8-03D6A4E10E41}"/>
              </a:ext>
            </a:extLst>
          </p:cNvPr>
          <p:cNvSpPr txBox="1"/>
          <p:nvPr/>
        </p:nvSpPr>
        <p:spPr>
          <a:xfrm>
            <a:off x="5924014" y="5778066"/>
            <a:ext cx="707572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Certificad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Chave privada.</a:t>
            </a:r>
          </a:p>
        </p:txBody>
      </p:sp>
      <p:sp>
        <p:nvSpPr>
          <p:cNvPr id="18" name="Left Brace 17">
            <a:extLst>
              <a:ext uri="{FF2B5EF4-FFF2-40B4-BE49-F238E27FC236}">
                <a16:creationId xmlns:a16="http://schemas.microsoft.com/office/drawing/2014/main" id="{4C133E5C-5112-2FB3-CA03-D3E30E3B9B8F}"/>
              </a:ext>
            </a:extLst>
          </p:cNvPr>
          <p:cNvSpPr/>
          <p:nvPr/>
        </p:nvSpPr>
        <p:spPr>
          <a:xfrm>
            <a:off x="4236483" y="2969314"/>
            <a:ext cx="261257" cy="343331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07F7737-2BED-94AD-19E6-5D36EAA56100}"/>
              </a:ext>
            </a:extLst>
          </p:cNvPr>
          <p:cNvSpPr txBox="1"/>
          <p:nvPr/>
        </p:nvSpPr>
        <p:spPr>
          <a:xfrm>
            <a:off x="2306551" y="4492594"/>
            <a:ext cx="19179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Criptografia RS256</a:t>
            </a:r>
          </a:p>
        </p:txBody>
      </p:sp>
      <p:sp>
        <p:nvSpPr>
          <p:cNvPr id="20" name="Left Brace 19">
            <a:extLst>
              <a:ext uri="{FF2B5EF4-FFF2-40B4-BE49-F238E27FC236}">
                <a16:creationId xmlns:a16="http://schemas.microsoft.com/office/drawing/2014/main" id="{22B00CFE-802E-37B0-3715-593D1B16872C}"/>
              </a:ext>
            </a:extLst>
          </p:cNvPr>
          <p:cNvSpPr/>
          <p:nvPr/>
        </p:nvSpPr>
        <p:spPr>
          <a:xfrm>
            <a:off x="2046026" y="2079941"/>
            <a:ext cx="299709" cy="63969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925F47-40AF-897F-B176-968A0E1E66FD}"/>
              </a:ext>
            </a:extLst>
          </p:cNvPr>
          <p:cNvSpPr txBox="1"/>
          <p:nvPr/>
        </p:nvSpPr>
        <p:spPr>
          <a:xfrm>
            <a:off x="891480" y="2195173"/>
            <a:ext cx="12101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grant_type</a:t>
            </a:r>
            <a:endParaRPr lang="pt-BR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7AD1E24-233C-DF7C-DBAD-0DFFD73490D3}"/>
              </a:ext>
            </a:extLst>
          </p:cNvPr>
          <p:cNvSpPr txBox="1"/>
          <p:nvPr/>
        </p:nvSpPr>
        <p:spPr>
          <a:xfrm>
            <a:off x="1052743" y="4486362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assertion</a:t>
            </a:r>
            <a:endParaRPr lang="pt-BR" dirty="0"/>
          </a:p>
        </p:txBody>
      </p:sp>
      <p:sp>
        <p:nvSpPr>
          <p:cNvPr id="22" name="Left Brace 21">
            <a:extLst>
              <a:ext uri="{FF2B5EF4-FFF2-40B4-BE49-F238E27FC236}">
                <a16:creationId xmlns:a16="http://schemas.microsoft.com/office/drawing/2014/main" id="{814F3672-20D3-42C7-77A9-F93A54B97022}"/>
              </a:ext>
            </a:extLst>
          </p:cNvPr>
          <p:cNvSpPr/>
          <p:nvPr/>
        </p:nvSpPr>
        <p:spPr>
          <a:xfrm>
            <a:off x="2040930" y="2991086"/>
            <a:ext cx="299709" cy="341154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FC505E0-C2C3-F6FE-646B-233419B0EF01}"/>
              </a:ext>
            </a:extLst>
          </p:cNvPr>
          <p:cNvSpPr txBox="1"/>
          <p:nvPr/>
        </p:nvSpPr>
        <p:spPr>
          <a:xfrm>
            <a:off x="2193332" y="2176210"/>
            <a:ext cx="65043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 err="1"/>
              <a:t>urn:ietf:params:oauth:grant-type:jwt-bearer</a:t>
            </a:r>
            <a:endParaRPr lang="pt-BR" dirty="0"/>
          </a:p>
        </p:txBody>
      </p:sp>
      <p:sp>
        <p:nvSpPr>
          <p:cNvPr id="24" name="Left Brace 23">
            <a:extLst>
              <a:ext uri="{FF2B5EF4-FFF2-40B4-BE49-F238E27FC236}">
                <a16:creationId xmlns:a16="http://schemas.microsoft.com/office/drawing/2014/main" id="{C31A1E0F-FDA9-C0C9-9BB5-CB69694C592B}"/>
              </a:ext>
            </a:extLst>
          </p:cNvPr>
          <p:cNvSpPr/>
          <p:nvPr/>
        </p:nvSpPr>
        <p:spPr>
          <a:xfrm>
            <a:off x="739077" y="2236413"/>
            <a:ext cx="304805" cy="264771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990A2F0-CB50-2A9E-6518-5F5E01EDB985}"/>
              </a:ext>
            </a:extLst>
          </p:cNvPr>
          <p:cNvSpPr txBox="1"/>
          <p:nvPr/>
        </p:nvSpPr>
        <p:spPr>
          <a:xfrm>
            <a:off x="133426" y="3238052"/>
            <a:ext cx="6719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POST</a:t>
            </a:r>
          </a:p>
          <a:p>
            <a:r>
              <a:rPr lang="pt-BR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1565503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/>
      <p:bldP spid="10" grpId="0"/>
      <p:bldP spid="11" grpId="0"/>
      <p:bldP spid="12" grpId="0" animBg="1"/>
      <p:bldP spid="14" grpId="0"/>
      <p:bldP spid="15" grpId="0"/>
      <p:bldP spid="16" grpId="0" animBg="1"/>
      <p:bldP spid="17" grpId="0"/>
      <p:bldP spid="18" grpId="0" animBg="1"/>
      <p:bldP spid="19" grpId="0"/>
      <p:bldP spid="20" grpId="0" animBg="1"/>
      <p:bldP spid="5" grpId="0"/>
      <p:bldP spid="21" grpId="0"/>
      <p:bldP spid="22" grpId="0" animBg="1"/>
      <p:bldP spid="23" grpId="0"/>
      <p:bldP spid="24" grpId="0" animBg="1"/>
      <p:bldP spid="2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xHMsYPTBqzyBwcJS5t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tq14PEc_drOLf11hlg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tq14PEc_drOLf11hlgo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mBOxh6ypmYvziSHF49E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BO9CKq5fxLoLk88Vx4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BjuVZi87bCuMjNTTn3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BO9CKq5fxLoLk88Vx4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BO9CKq5fxLoLk88Vx4h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BO9CKq5fxLoLk88Vx4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BO9CKq5fxLoLk88Vx4h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BO9CKq5fxLoLk88Vx4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BO9CKq5fxLoLk88Vx4h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BO9CKq5fxLoLk88Vx4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BO9CKq5fxLoLk88Vx4h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MR50pk0DAnZXnnVlGh1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MR50pk0DAnZXnnVlGh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guhTsgBM3zn1.AuSPV1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mBOxh6ypmYvziSHF49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xHMsYPTBqzyBwcJS5tWw"/>
</p:tagLst>
</file>

<file path=ppt/theme/theme1.xml><?xml version="1.0" encoding="utf-8"?>
<a:theme xmlns:a="http://schemas.openxmlformats.org/drawingml/2006/main" name="Office Theme">
  <a:themeElements>
    <a:clrScheme name="Accenture">
      <a:dk1>
        <a:srgbClr val="000000"/>
      </a:dk1>
      <a:lt1>
        <a:srgbClr val="FFFFFF"/>
      </a:lt1>
      <a:dk2>
        <a:srgbClr val="919191"/>
      </a:dk2>
      <a:lt2>
        <a:srgbClr val="6C6C6C"/>
      </a:lt2>
      <a:accent1>
        <a:srgbClr val="7E00FF"/>
      </a:accent1>
      <a:accent2>
        <a:srgbClr val="A100FF"/>
      </a:accent2>
      <a:accent3>
        <a:srgbClr val="A100FF"/>
      </a:accent3>
      <a:accent4>
        <a:srgbClr val="7500C0"/>
      </a:accent4>
      <a:accent5>
        <a:srgbClr val="5F0095"/>
      </a:accent5>
      <a:accent6>
        <a:srgbClr val="380089"/>
      </a:accent6>
      <a:hlink>
        <a:srgbClr val="7E00FF"/>
      </a:hlink>
      <a:folHlink>
        <a:srgbClr val="A9A9A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28575">
          <a:solidFill>
            <a:srgbClr val="FF0000"/>
          </a:solidFill>
          <a:headEnd type="none" w="med" len="med"/>
          <a:tailEnd type="triangle" w="med" len="med"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B1F405D1CB7C4588D4F10C04B5C71A" ma:contentTypeVersion="15" ma:contentTypeDescription="Create a new document." ma:contentTypeScope="" ma:versionID="69052a09282161c82f1154774d3852a1">
  <xsd:schema xmlns:xsd="http://www.w3.org/2001/XMLSchema" xmlns:xs="http://www.w3.org/2001/XMLSchema" xmlns:p="http://schemas.microsoft.com/office/2006/metadata/properties" xmlns:ns2="1c51450d-2334-4d27-aae0-b9ec925e266c" xmlns:ns3="4bfbbc53-1357-420e-ac40-ab66567198c4" targetNamespace="http://schemas.microsoft.com/office/2006/metadata/properties" ma:root="true" ma:fieldsID="7294208609fd4e33696947a8e4f0c2eb" ns2:_="" ns3:_="">
    <xsd:import namespace="1c51450d-2334-4d27-aae0-b9ec925e266c"/>
    <xsd:import namespace="4bfbbc53-1357-420e-ac40-ab66567198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51450d-2334-4d27-aae0-b9ec925e26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fbbc53-1357-420e-ac40-ab66567198c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56197818-1cb5-4c55-b3d5-d871ef8dc1c6}" ma:internalName="TaxCatchAll" ma:showField="CatchAllData" ma:web="4bfbbc53-1357-420e-ac40-ab66567198c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bfbbc53-1357-420e-ac40-ab66567198c4">
      <UserInfo>
        <DisplayName>Macedo, Mayra Maia de</DisplayName>
        <AccountId>18</AccountId>
        <AccountType/>
      </UserInfo>
    </SharedWithUsers>
    <lcf76f155ced4ddcb4097134ff3c332f xmlns="1c51450d-2334-4d27-aae0-b9ec925e266c">
      <Terms xmlns="http://schemas.microsoft.com/office/infopath/2007/PartnerControls"/>
    </lcf76f155ced4ddcb4097134ff3c332f>
    <TaxCatchAll xmlns="4bfbbc53-1357-420e-ac40-ab66567198c4" xsi:nil="true"/>
  </documentManagement>
</p:properties>
</file>

<file path=customXml/itemProps1.xml><?xml version="1.0" encoding="utf-8"?>
<ds:datastoreItem xmlns:ds="http://schemas.openxmlformats.org/officeDocument/2006/customXml" ds:itemID="{DF52BA52-0DA4-4C37-8B76-6C6F6D3BC53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B571A04-D35D-43F9-97D7-CD5BB094CD09}">
  <ds:schemaRefs>
    <ds:schemaRef ds:uri="1c51450d-2334-4d27-aae0-b9ec925e266c"/>
    <ds:schemaRef ds:uri="4bfbbc53-1357-420e-ac40-ab66567198c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6F0AC73-FAC6-432B-BC69-413C913BC258}">
  <ds:schemaRefs>
    <ds:schemaRef ds:uri="1c51450d-2334-4d27-aae0-b9ec925e266c"/>
    <ds:schemaRef ds:uri="1fdc93f3-47f8-40db-b5bb-0d5db8687dbf"/>
    <ds:schemaRef ds:uri="4bfbbc53-1357-420e-ac40-ab66567198c4"/>
    <ds:schemaRef ds:uri="db527caa-a681-4f7f-bd14-d38c9ccbc23d"/>
    <ds:schemaRef ds:uri="dcf7d038-13d0-4784-a3c4-a72213eda6e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03</TotalTime>
  <Words>988</Words>
  <Application>Microsoft Office PowerPoint</Application>
  <PresentationFormat>Widescreen</PresentationFormat>
  <Paragraphs>164</Paragraphs>
  <Slides>16</Slides>
  <Notes>14</Notes>
  <HiddenSlides>1</HiddenSlides>
  <MMClips>0</MMClips>
  <ScaleCrop>false</ScaleCrop>
  <HeadingPairs>
    <vt:vector size="10" baseType="variant">
      <vt:variant>
        <vt:lpstr>Fonts Used</vt:lpstr>
      </vt:variant>
      <vt:variant>
        <vt:i4>2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  <vt:variant>
        <vt:lpstr>Custom Shows</vt:lpstr>
      </vt:variant>
      <vt:variant>
        <vt:i4>1</vt:i4>
      </vt:variant>
    </vt:vector>
  </HeadingPairs>
  <TitlesOfParts>
    <vt:vector size="41" baseType="lpstr">
      <vt:lpstr>Arial</vt:lpstr>
      <vt:lpstr>Arial Black</vt:lpstr>
      <vt:lpstr>Calibri</vt:lpstr>
      <vt:lpstr>Calibri Light</vt:lpstr>
      <vt:lpstr>Courier New</vt:lpstr>
      <vt:lpstr>Graphik</vt:lpstr>
      <vt:lpstr>Graphik (Headings)</vt:lpstr>
      <vt:lpstr>Graphik Black</vt:lpstr>
      <vt:lpstr>Graphik Bold</vt:lpstr>
      <vt:lpstr>Graphik Light</vt:lpstr>
      <vt:lpstr>Graphik Semibold</vt:lpstr>
      <vt:lpstr>GT Sectra Fine</vt:lpstr>
      <vt:lpstr>GT Sectra Fine Bk</vt:lpstr>
      <vt:lpstr>Simplon BP</vt:lpstr>
      <vt:lpstr>Simplon BP Bold</vt:lpstr>
      <vt:lpstr>Simplon BP Regular</vt:lpstr>
      <vt:lpstr>Simplon Oi Headline</vt:lpstr>
      <vt:lpstr>System Font</vt:lpstr>
      <vt:lpstr>TIM Sans</vt:lpstr>
      <vt:lpstr>Vodafone Rg</vt:lpstr>
      <vt:lpstr>Wingdings</vt:lpstr>
      <vt:lpstr>Office Theme</vt:lpstr>
      <vt:lpstr>think-cell Slid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por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rtaglia, Fernanda P.</dc:creator>
  <cp:lastModifiedBy>Oliveira, Gilberto</cp:lastModifiedBy>
  <cp:revision>8</cp:revision>
  <cp:lastPrinted>2022-03-15T13:38:48Z</cp:lastPrinted>
  <dcterms:created xsi:type="dcterms:W3CDTF">2021-07-19T19:14:51Z</dcterms:created>
  <dcterms:modified xsi:type="dcterms:W3CDTF">2022-09-12T19:5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B1F405D1CB7C4588D4F10C04B5C71A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etDate">
    <vt:lpwstr>2021-08-01T14:27:30Z</vt:lpwstr>
  </property>
  <property fmtid="{D5CDD505-2E9C-101B-9397-08002B2CF9AE}" pid="5" name="MSIP_Label_1bc0f418-96a4-4caf-9d7c-ccc5ec7f9d91_Method">
    <vt:lpwstr>Privileged</vt:lpwstr>
  </property>
  <property fmtid="{D5CDD505-2E9C-101B-9397-08002B2CF9AE}" pid="6" name="MSIP_Label_1bc0f418-96a4-4caf-9d7c-ccc5ec7f9d91_Name">
    <vt:lpwstr>1bc0f418-96a4-4caf-9d7c-ccc5ec7f9d91</vt:lpwstr>
  </property>
  <property fmtid="{D5CDD505-2E9C-101B-9397-08002B2CF9AE}" pid="7" name="MSIP_Label_1bc0f418-96a4-4caf-9d7c-ccc5ec7f9d91_SiteId">
    <vt:lpwstr>e0793d39-0939-496d-b129-198edd916feb</vt:lpwstr>
  </property>
  <property fmtid="{D5CDD505-2E9C-101B-9397-08002B2CF9AE}" pid="8" name="MSIP_Label_1bc0f418-96a4-4caf-9d7c-ccc5ec7f9d91_ActionId">
    <vt:lpwstr>41249210-f82b-4fa4-886f-9eef9f392e8e</vt:lpwstr>
  </property>
  <property fmtid="{D5CDD505-2E9C-101B-9397-08002B2CF9AE}" pid="9" name="MSIP_Label_1bc0f418-96a4-4caf-9d7c-ccc5ec7f9d91_ContentBits">
    <vt:lpwstr>0</vt:lpwstr>
  </property>
  <property fmtid="{D5CDD505-2E9C-101B-9397-08002B2CF9AE}" pid="10" name="Order">
    <vt:r8>59100</vt:r8>
  </property>
  <property fmtid="{D5CDD505-2E9C-101B-9397-08002B2CF9AE}" pid="11" name="xd_Signature">
    <vt:bool>false</vt:bool>
  </property>
  <property fmtid="{D5CDD505-2E9C-101B-9397-08002B2CF9AE}" pid="12" name="xd_Prog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ComplianceAssetId">
    <vt:lpwstr/>
  </property>
  <property fmtid="{D5CDD505-2E9C-101B-9397-08002B2CF9AE}" pid="16" name="TemplateUrl">
    <vt:lpwstr/>
  </property>
  <property fmtid="{D5CDD505-2E9C-101B-9397-08002B2CF9AE}" pid="17" name="MediaServiceImageTags">
    <vt:lpwstr/>
  </property>
</Properties>
</file>